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7"/>
  </p:notesMasterIdLst>
  <p:sldIdLst>
    <p:sldId id="2147483492" r:id="rId5"/>
    <p:sldId id="2147483491"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FEC37291-A173-129F-C464-68E048CA2C65}" name="Pimentel, Patricia" initials="PP" userId="S::c7z7rh@glbcore.com::c6a554d0-5a56-4500-9ed3-f95635c5ad2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99291D-0B28-5859-6EB2-C12F5A1E4D69}" v="84" dt="2026-05-12T22:03:04.295"/>
    <p1510:client id="{A8B46830-F88D-428A-B120-44D95CC22DCA}" v="5" dt="2026-05-12T22:07:07.9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1027" y="3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53B3B2-5FF8-4EA8-9347-EF268A8573B7}" type="datetimeFigureOut">
              <a:rPr lang="en-US" smtClean="0"/>
              <a:t>5/1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D1D3EE-C580-4A64-AE3F-F6DA207BD272}" type="slidenum">
              <a:rPr lang="en-US" smtClean="0"/>
              <a:t>‹#›</a:t>
            </a:fld>
            <a:endParaRPr lang="en-US"/>
          </a:p>
        </p:txBody>
      </p:sp>
    </p:spTree>
    <p:extLst>
      <p:ext uri="{BB962C8B-B14F-4D97-AF65-F5344CB8AC3E}">
        <p14:creationId xmlns:p14="http://schemas.microsoft.com/office/powerpoint/2010/main" val="440741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97C0D-62FE-ECA0-B384-DC1A527989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9FBB22-919E-48A1-6631-01011B657B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B4F41F-D619-CAE8-BC58-D59744C7DAD2}"/>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3B8A614F-CB74-72D9-0415-1EB2817EEF9B}"/>
              </a:ext>
            </a:extLst>
          </p:cNvPr>
          <p:cNvSpPr>
            <a:spLocks noGrp="1"/>
          </p:cNvSpPr>
          <p:nvPr>
            <p:ph type="sldNum" sz="quarter" idx="5"/>
          </p:nvPr>
        </p:nvSpPr>
        <p:spPr/>
        <p:txBody>
          <a:bodyPr/>
          <a:lstStyle/>
          <a:p>
            <a:fld id="{392395BC-8837-44A8-A9A3-83AB16F54644}" type="slidenum">
              <a:rPr lang="en-US" smtClean="0"/>
              <a:t>1</a:t>
            </a:fld>
            <a:endParaRPr lang="en-US"/>
          </a:p>
        </p:txBody>
      </p:sp>
    </p:spTree>
    <p:extLst>
      <p:ext uri="{BB962C8B-B14F-4D97-AF65-F5344CB8AC3E}">
        <p14:creationId xmlns:p14="http://schemas.microsoft.com/office/powerpoint/2010/main" val="23997256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sv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sv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sv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sv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 Cover">
    <p:bg bwMode="ltGray">
      <p:bgPr>
        <a:solidFill>
          <a:schemeClr val="accent3"/>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grpSp>
        <p:nvGrpSpPr>
          <p:cNvPr id="12" name="Group graphic">
            <a:extLst>
              <a:ext uri="{FF2B5EF4-FFF2-40B4-BE49-F238E27FC236}">
                <a16:creationId xmlns:a16="http://schemas.microsoft.com/office/drawing/2014/main" id="{3EBA888A-297B-2291-1EF3-12633C38BA55}"/>
              </a:ext>
            </a:extLst>
          </p:cNvPr>
          <p:cNvGrpSpPr>
            <a:grpSpLocks noGrp="1" noUngrp="1" noRot="1" noMove="1" noResize="1"/>
          </p:cNvGrpSpPr>
          <p:nvPr userDrawn="1"/>
        </p:nvGrpSpPr>
        <p:grpSpPr bwMode="invGray">
          <a:xfrm>
            <a:off x="6339596" y="0"/>
            <a:ext cx="5852404" cy="6858000"/>
            <a:chOff x="6396158" y="75416"/>
            <a:chExt cx="5852404" cy="6858000"/>
          </a:xfrm>
        </p:grpSpPr>
        <p:sp>
          <p:nvSpPr>
            <p:cNvPr id="14" name="Freeform 76">
              <a:extLst>
                <a:ext uri="{FF2B5EF4-FFF2-40B4-BE49-F238E27FC236}">
                  <a16:creationId xmlns:a16="http://schemas.microsoft.com/office/drawing/2014/main" id="{7370165F-583C-ECFF-8471-7BF343601CB3}"/>
                </a:ext>
              </a:extLst>
            </p:cNvPr>
            <p:cNvSpPr>
              <a:spLocks noGrp="1" noRot="1" noMove="1" noResize="1" noEditPoints="1" noAdjustHandles="1" noChangeArrowheads="1" noChangeShapeType="1"/>
            </p:cNvSpPr>
            <p:nvPr/>
          </p:nvSpPr>
          <p:spPr bwMode="invGray">
            <a:xfrm>
              <a:off x="10499364" y="5446278"/>
              <a:ext cx="1749198" cy="1487138"/>
            </a:xfrm>
            <a:custGeom>
              <a:avLst/>
              <a:gdLst>
                <a:gd name="connsiteX0" fmla="*/ 0 w 1698987"/>
                <a:gd name="connsiteY0" fmla="*/ 0 h 1418073"/>
                <a:gd name="connsiteX1" fmla="*/ 1698987 w 1698987"/>
                <a:gd name="connsiteY1" fmla="*/ 0 h 1418073"/>
                <a:gd name="connsiteX2" fmla="*/ 1698987 w 1698987"/>
                <a:gd name="connsiteY2" fmla="*/ 12817 h 1418073"/>
                <a:gd name="connsiteX3" fmla="*/ 12823 w 1698987"/>
                <a:gd name="connsiteY3" fmla="*/ 12817 h 1418073"/>
                <a:gd name="connsiteX4" fmla="*/ 12823 w 1698987"/>
                <a:gd name="connsiteY4" fmla="*/ 1418073 h 1418073"/>
                <a:gd name="connsiteX5" fmla="*/ 0 w 1698987"/>
                <a:gd name="connsiteY5" fmla="*/ 1418073 h 141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8987" h="1418073">
                  <a:moveTo>
                    <a:pt x="0" y="0"/>
                  </a:moveTo>
                  <a:lnTo>
                    <a:pt x="1698987" y="0"/>
                  </a:lnTo>
                  <a:lnTo>
                    <a:pt x="1698987" y="12817"/>
                  </a:lnTo>
                  <a:lnTo>
                    <a:pt x="12823" y="12817"/>
                  </a:lnTo>
                  <a:lnTo>
                    <a:pt x="12823" y="1418073"/>
                  </a:lnTo>
                  <a:lnTo>
                    <a:pt x="0" y="1418073"/>
                  </a:lnTo>
                  <a:close/>
                </a:path>
              </a:pathLst>
            </a:custGeom>
            <a:solidFill>
              <a:schemeClr val="accent1"/>
            </a:solidFill>
            <a:ln w="0" cap="flat">
              <a:noFill/>
              <a:prstDash val="solid"/>
              <a:miter/>
            </a:ln>
          </p:spPr>
          <p:txBody>
            <a:bodyPr rtlCol="0" anchor="ctr"/>
            <a:lstStyle/>
            <a:p>
              <a:endParaRPr lang="en-US"/>
            </a:p>
          </p:txBody>
        </p:sp>
        <p:sp>
          <p:nvSpPr>
            <p:cNvPr id="17" name="Freeform 21">
              <a:extLst>
                <a:ext uri="{FF2B5EF4-FFF2-40B4-BE49-F238E27FC236}">
                  <a16:creationId xmlns:a16="http://schemas.microsoft.com/office/drawing/2014/main" id="{2BF21013-0D39-C0A2-334D-D5CD42230EF1}"/>
                </a:ext>
              </a:extLst>
            </p:cNvPr>
            <p:cNvSpPr>
              <a:spLocks noGrp="1" noRot="1" noMove="1" noResize="1" noEditPoints="1" noAdjustHandles="1" noChangeArrowheads="1" noChangeShapeType="1"/>
            </p:cNvSpPr>
            <p:nvPr/>
          </p:nvSpPr>
          <p:spPr bwMode="invGray">
            <a:xfrm>
              <a:off x="8447761" y="3395591"/>
              <a:ext cx="2064425" cy="2063502"/>
            </a:xfrm>
            <a:custGeom>
              <a:avLst/>
              <a:gdLst>
                <a:gd name="connsiteX0" fmla="*/ 2064426 w 2064425"/>
                <a:gd name="connsiteY0" fmla="*/ 2063503 h 2063502"/>
                <a:gd name="connsiteX1" fmla="*/ 314152 w 2064425"/>
                <a:gd name="connsiteY1" fmla="*/ 2063503 h 2063502"/>
                <a:gd name="connsiteX2" fmla="*/ 0 w 2064425"/>
                <a:gd name="connsiteY2" fmla="*/ 1749491 h 2063502"/>
                <a:gd name="connsiteX3" fmla="*/ 0 w 2064425"/>
                <a:gd name="connsiteY3" fmla="*/ 314011 h 2063502"/>
                <a:gd name="connsiteX4" fmla="*/ 314152 w 2064425"/>
                <a:gd name="connsiteY4" fmla="*/ 0 h 2063502"/>
                <a:gd name="connsiteX5" fmla="*/ 1647438 w 2064425"/>
                <a:gd name="connsiteY5" fmla="*/ 0 h 2063502"/>
                <a:gd name="connsiteX6" fmla="*/ 1647438 w 2064425"/>
                <a:gd name="connsiteY6" fmla="*/ 12817 h 2063502"/>
                <a:gd name="connsiteX7" fmla="*/ 314152 w 2064425"/>
                <a:gd name="connsiteY7" fmla="*/ 12817 h 2063502"/>
                <a:gd name="connsiteX8" fmla="*/ 12823 w 2064425"/>
                <a:gd name="connsiteY8" fmla="*/ 314011 h 2063502"/>
                <a:gd name="connsiteX9" fmla="*/ 12823 w 2064425"/>
                <a:gd name="connsiteY9" fmla="*/ 1749491 h 2063502"/>
                <a:gd name="connsiteX10" fmla="*/ 314152 w 2064425"/>
                <a:gd name="connsiteY10" fmla="*/ 2050686 h 2063502"/>
                <a:gd name="connsiteX11" fmla="*/ 2051603 w 2064425"/>
                <a:gd name="connsiteY11" fmla="*/ 2050686 h 2063502"/>
                <a:gd name="connsiteX12" fmla="*/ 2051603 w 2064425"/>
                <a:gd name="connsiteY12" fmla="*/ 431413 h 2063502"/>
                <a:gd name="connsiteX13" fmla="*/ 2064426 w 2064425"/>
                <a:gd name="connsiteY13" fmla="*/ 431413 h 2063502"/>
                <a:gd name="connsiteX14" fmla="*/ 2064426 w 2064425"/>
                <a:gd name="connsiteY14" fmla="*/ 2063503 h 20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64425" h="2063502">
                  <a:moveTo>
                    <a:pt x="2064426" y="2063503"/>
                  </a:moveTo>
                  <a:lnTo>
                    <a:pt x="314152" y="2063503"/>
                  </a:lnTo>
                  <a:cubicBezTo>
                    <a:pt x="141048" y="2063503"/>
                    <a:pt x="0" y="1922518"/>
                    <a:pt x="0" y="1749491"/>
                  </a:cubicBezTo>
                  <a:lnTo>
                    <a:pt x="0" y="314011"/>
                  </a:lnTo>
                  <a:cubicBezTo>
                    <a:pt x="0" y="140985"/>
                    <a:pt x="141048" y="0"/>
                    <a:pt x="314152" y="0"/>
                  </a:cubicBezTo>
                  <a:lnTo>
                    <a:pt x="1647438" y="0"/>
                  </a:lnTo>
                  <a:lnTo>
                    <a:pt x="1647438" y="12817"/>
                  </a:lnTo>
                  <a:lnTo>
                    <a:pt x="314152" y="12817"/>
                  </a:lnTo>
                  <a:cubicBezTo>
                    <a:pt x="147972" y="12817"/>
                    <a:pt x="12823" y="147906"/>
                    <a:pt x="12823" y="314011"/>
                  </a:cubicBezTo>
                  <a:lnTo>
                    <a:pt x="12823" y="1749491"/>
                  </a:lnTo>
                  <a:cubicBezTo>
                    <a:pt x="12823" y="1915597"/>
                    <a:pt x="147972" y="2050686"/>
                    <a:pt x="314152" y="2050686"/>
                  </a:cubicBezTo>
                  <a:lnTo>
                    <a:pt x="2051603" y="2050686"/>
                  </a:lnTo>
                  <a:lnTo>
                    <a:pt x="2051603" y="431413"/>
                  </a:lnTo>
                  <a:lnTo>
                    <a:pt x="2064426" y="431413"/>
                  </a:lnTo>
                  <a:lnTo>
                    <a:pt x="2064426" y="2063503"/>
                  </a:lnTo>
                  <a:close/>
                </a:path>
              </a:pathLst>
            </a:custGeom>
            <a:solidFill>
              <a:schemeClr val="accent1"/>
            </a:solidFill>
            <a:ln w="0" cap="flat">
              <a:noFill/>
              <a:prstDash val="solid"/>
              <a:miter/>
            </a:ln>
          </p:spPr>
          <p:txBody>
            <a:bodyPr rtlCol="0" anchor="ctr"/>
            <a:lstStyle/>
            <a:p>
              <a:endParaRPr lang="en-US"/>
            </a:p>
          </p:txBody>
        </p:sp>
        <p:sp>
          <p:nvSpPr>
            <p:cNvPr id="18" name="Freeform 23">
              <a:extLst>
                <a:ext uri="{FF2B5EF4-FFF2-40B4-BE49-F238E27FC236}">
                  <a16:creationId xmlns:a16="http://schemas.microsoft.com/office/drawing/2014/main" id="{B70B7DD5-9B78-F227-8AA6-035F4059A744}"/>
                </a:ext>
              </a:extLst>
            </p:cNvPr>
            <p:cNvSpPr>
              <a:spLocks noGrp="1" noRot="1" noMove="1" noResize="1" noEditPoints="1" noAdjustHandles="1" noChangeArrowheads="1" noChangeShapeType="1"/>
            </p:cNvSpPr>
            <p:nvPr/>
          </p:nvSpPr>
          <p:spPr bwMode="invGray">
            <a:xfrm>
              <a:off x="6396158" y="1344905"/>
              <a:ext cx="2064425" cy="2063502"/>
            </a:xfrm>
            <a:custGeom>
              <a:avLst/>
              <a:gdLst>
                <a:gd name="connsiteX0" fmla="*/ 1750274 w 2064425"/>
                <a:gd name="connsiteY0" fmla="*/ 2063503 h 2063502"/>
                <a:gd name="connsiteX1" fmla="*/ 314152 w 2064425"/>
                <a:gd name="connsiteY1" fmla="*/ 2063503 h 2063502"/>
                <a:gd name="connsiteX2" fmla="*/ 0 w 2064425"/>
                <a:gd name="connsiteY2" fmla="*/ 1749491 h 2063502"/>
                <a:gd name="connsiteX3" fmla="*/ 0 w 2064425"/>
                <a:gd name="connsiteY3" fmla="*/ 314011 h 2063502"/>
                <a:gd name="connsiteX4" fmla="*/ 314152 w 2064425"/>
                <a:gd name="connsiteY4" fmla="*/ 0 h 2063502"/>
                <a:gd name="connsiteX5" fmla="*/ 2064426 w 2064425"/>
                <a:gd name="connsiteY5" fmla="*/ 0 h 2063502"/>
                <a:gd name="connsiteX6" fmla="*/ 2064426 w 2064425"/>
                <a:gd name="connsiteY6" fmla="*/ 1749491 h 2063502"/>
                <a:gd name="connsiteX7" fmla="*/ 1750274 w 2064425"/>
                <a:gd name="connsiteY7" fmla="*/ 2063503 h 2063502"/>
                <a:gd name="connsiteX8" fmla="*/ 314152 w 2064425"/>
                <a:gd name="connsiteY8" fmla="*/ 12817 h 2063502"/>
                <a:gd name="connsiteX9" fmla="*/ 12823 w 2064425"/>
                <a:gd name="connsiteY9" fmla="*/ 314011 h 2063502"/>
                <a:gd name="connsiteX10" fmla="*/ 12823 w 2064425"/>
                <a:gd name="connsiteY10" fmla="*/ 1749491 h 2063502"/>
                <a:gd name="connsiteX11" fmla="*/ 314152 w 2064425"/>
                <a:gd name="connsiteY11" fmla="*/ 2050686 h 2063502"/>
                <a:gd name="connsiteX12" fmla="*/ 1750274 w 2064425"/>
                <a:gd name="connsiteY12" fmla="*/ 2050686 h 2063502"/>
                <a:gd name="connsiteX13" fmla="*/ 2051603 w 2064425"/>
                <a:gd name="connsiteY13" fmla="*/ 1749491 h 2063502"/>
                <a:gd name="connsiteX14" fmla="*/ 2051603 w 2064425"/>
                <a:gd name="connsiteY14" fmla="*/ 12817 h 2063502"/>
                <a:gd name="connsiteX15" fmla="*/ 314152 w 2064425"/>
                <a:gd name="connsiteY15" fmla="*/ 12817 h 20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4425" h="2063502">
                  <a:moveTo>
                    <a:pt x="1750274" y="2063503"/>
                  </a:moveTo>
                  <a:lnTo>
                    <a:pt x="314152" y="2063503"/>
                  </a:lnTo>
                  <a:cubicBezTo>
                    <a:pt x="141048" y="2063503"/>
                    <a:pt x="0" y="1922518"/>
                    <a:pt x="0" y="1749491"/>
                  </a:cubicBezTo>
                  <a:lnTo>
                    <a:pt x="0" y="314011"/>
                  </a:lnTo>
                  <a:cubicBezTo>
                    <a:pt x="0" y="140985"/>
                    <a:pt x="141048" y="0"/>
                    <a:pt x="314152" y="0"/>
                  </a:cubicBezTo>
                  <a:lnTo>
                    <a:pt x="2064426" y="0"/>
                  </a:lnTo>
                  <a:lnTo>
                    <a:pt x="2064426" y="1749491"/>
                  </a:lnTo>
                  <a:cubicBezTo>
                    <a:pt x="2064426" y="1922518"/>
                    <a:pt x="1923378" y="2063503"/>
                    <a:pt x="1750274" y="2063503"/>
                  </a:cubicBezTo>
                  <a:close/>
                  <a:moveTo>
                    <a:pt x="314152" y="12817"/>
                  </a:moveTo>
                  <a:cubicBezTo>
                    <a:pt x="147972" y="12817"/>
                    <a:pt x="12823" y="147906"/>
                    <a:pt x="12823" y="314011"/>
                  </a:cubicBezTo>
                  <a:lnTo>
                    <a:pt x="12823" y="1749491"/>
                  </a:lnTo>
                  <a:cubicBezTo>
                    <a:pt x="12823" y="1915597"/>
                    <a:pt x="147972" y="2050686"/>
                    <a:pt x="314152" y="2050686"/>
                  </a:cubicBezTo>
                  <a:lnTo>
                    <a:pt x="1750274" y="2050686"/>
                  </a:lnTo>
                  <a:cubicBezTo>
                    <a:pt x="1916454" y="2050686"/>
                    <a:pt x="2051603" y="1915597"/>
                    <a:pt x="2051603" y="1749491"/>
                  </a:cubicBezTo>
                  <a:lnTo>
                    <a:pt x="2051603" y="12817"/>
                  </a:lnTo>
                  <a:lnTo>
                    <a:pt x="314152" y="12817"/>
                  </a:lnTo>
                  <a:close/>
                </a:path>
              </a:pathLst>
            </a:custGeom>
            <a:solidFill>
              <a:schemeClr val="accent1"/>
            </a:solidFill>
            <a:ln w="0" cap="flat">
              <a:noFill/>
              <a:prstDash val="solid"/>
              <a:miter/>
            </a:ln>
          </p:spPr>
          <p:txBody>
            <a:bodyPr rtlCol="0" anchor="ctr"/>
            <a:lstStyle/>
            <a:p>
              <a:endParaRPr lang="en-US"/>
            </a:p>
          </p:txBody>
        </p:sp>
        <p:sp>
          <p:nvSpPr>
            <p:cNvPr id="19" name="Freeform 61">
              <a:extLst>
                <a:ext uri="{FF2B5EF4-FFF2-40B4-BE49-F238E27FC236}">
                  <a16:creationId xmlns:a16="http://schemas.microsoft.com/office/drawing/2014/main" id="{9948D461-B02F-7F25-37FF-91D6F22C2AD8}"/>
                </a:ext>
              </a:extLst>
            </p:cNvPr>
            <p:cNvSpPr>
              <a:spLocks noGrp="1" noRot="1" noMove="1" noResize="1" noEditPoints="1" noAdjustHandles="1" noChangeArrowheads="1" noChangeShapeType="1"/>
            </p:cNvSpPr>
            <p:nvPr/>
          </p:nvSpPr>
          <p:spPr bwMode="invGray">
            <a:xfrm>
              <a:off x="8447760" y="75416"/>
              <a:ext cx="2064426" cy="1282307"/>
            </a:xfrm>
            <a:custGeom>
              <a:avLst/>
              <a:gdLst>
                <a:gd name="connsiteX0" fmla="*/ 0 w 2064426"/>
                <a:gd name="connsiteY0" fmla="*/ 0 h 1357723"/>
                <a:gd name="connsiteX1" fmla="*/ 12823 w 2064426"/>
                <a:gd name="connsiteY1" fmla="*/ 0 h 1357723"/>
                <a:gd name="connsiteX2" fmla="*/ 12823 w 2064426"/>
                <a:gd name="connsiteY2" fmla="*/ 1344906 h 1357723"/>
                <a:gd name="connsiteX3" fmla="*/ 2051603 w 2064426"/>
                <a:gd name="connsiteY3" fmla="*/ 1344906 h 1357723"/>
                <a:gd name="connsiteX4" fmla="*/ 2051603 w 2064426"/>
                <a:gd name="connsiteY4" fmla="*/ 0 h 1357723"/>
                <a:gd name="connsiteX5" fmla="*/ 2064426 w 2064426"/>
                <a:gd name="connsiteY5" fmla="*/ 0 h 1357723"/>
                <a:gd name="connsiteX6" fmla="*/ 2064426 w 2064426"/>
                <a:gd name="connsiteY6" fmla="*/ 1357723 h 1357723"/>
                <a:gd name="connsiteX7" fmla="*/ 0 w 2064426"/>
                <a:gd name="connsiteY7" fmla="*/ 1357723 h 13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4426" h="1357723">
                  <a:moveTo>
                    <a:pt x="0" y="0"/>
                  </a:moveTo>
                  <a:lnTo>
                    <a:pt x="12823" y="0"/>
                  </a:lnTo>
                  <a:lnTo>
                    <a:pt x="12823" y="1344906"/>
                  </a:lnTo>
                  <a:lnTo>
                    <a:pt x="2051603" y="1344906"/>
                  </a:lnTo>
                  <a:lnTo>
                    <a:pt x="2051603" y="0"/>
                  </a:lnTo>
                  <a:lnTo>
                    <a:pt x="2064426" y="0"/>
                  </a:lnTo>
                  <a:lnTo>
                    <a:pt x="2064426" y="1357723"/>
                  </a:lnTo>
                  <a:lnTo>
                    <a:pt x="0" y="1357723"/>
                  </a:lnTo>
                  <a:close/>
                </a:path>
              </a:pathLst>
            </a:custGeom>
            <a:solidFill>
              <a:schemeClr val="accent1"/>
            </a:solidFill>
            <a:ln w="0" cap="flat">
              <a:noFill/>
              <a:prstDash val="solid"/>
              <a:miter/>
            </a:ln>
          </p:spPr>
          <p:txBody>
            <a:bodyPr rtlCol="0" anchor="ctr"/>
            <a:lstStyle/>
            <a:p>
              <a:endParaRPr lang="en-US"/>
            </a:p>
          </p:txBody>
        </p:sp>
        <p:sp>
          <p:nvSpPr>
            <p:cNvPr id="20" name="Freeform 56">
              <a:extLst>
                <a:ext uri="{FF2B5EF4-FFF2-40B4-BE49-F238E27FC236}">
                  <a16:creationId xmlns:a16="http://schemas.microsoft.com/office/drawing/2014/main" id="{6344B2C4-7CF3-6B5C-48F0-CFEAEE94FA8C}"/>
                </a:ext>
              </a:extLst>
            </p:cNvPr>
            <p:cNvSpPr>
              <a:spLocks noGrp="1" noRot="1" noMove="1" noResize="1" noEditPoints="1" noAdjustHandles="1" noChangeArrowheads="1" noChangeShapeType="1"/>
            </p:cNvSpPr>
            <p:nvPr/>
          </p:nvSpPr>
          <p:spPr bwMode="invGray">
            <a:xfrm>
              <a:off x="10300615" y="3196931"/>
              <a:ext cx="410320" cy="410137"/>
            </a:xfrm>
            <a:custGeom>
              <a:avLst/>
              <a:gdLst>
                <a:gd name="connsiteX0" fmla="*/ 410321 w 410320"/>
                <a:gd name="connsiteY0" fmla="*/ 157390 h 410137"/>
                <a:gd name="connsiteX1" fmla="*/ 252860 w 410320"/>
                <a:gd name="connsiteY1" fmla="*/ 157390 h 410137"/>
                <a:gd name="connsiteX2" fmla="*/ 252860 w 410320"/>
                <a:gd name="connsiteY2" fmla="*/ 0 h 410137"/>
                <a:gd name="connsiteX3" fmla="*/ 157461 w 410320"/>
                <a:gd name="connsiteY3" fmla="*/ 0 h 410137"/>
                <a:gd name="connsiteX4" fmla="*/ 157461 w 410320"/>
                <a:gd name="connsiteY4" fmla="*/ 157390 h 410137"/>
                <a:gd name="connsiteX5" fmla="*/ 0 w 410320"/>
                <a:gd name="connsiteY5" fmla="*/ 157390 h 410137"/>
                <a:gd name="connsiteX6" fmla="*/ 0 w 410320"/>
                <a:gd name="connsiteY6" fmla="*/ 252747 h 410137"/>
                <a:gd name="connsiteX7" fmla="*/ 157461 w 410320"/>
                <a:gd name="connsiteY7" fmla="*/ 252747 h 410137"/>
                <a:gd name="connsiteX8" fmla="*/ 157461 w 410320"/>
                <a:gd name="connsiteY8" fmla="*/ 410137 h 410137"/>
                <a:gd name="connsiteX9" fmla="*/ 252860 w 410320"/>
                <a:gd name="connsiteY9" fmla="*/ 410137 h 410137"/>
                <a:gd name="connsiteX10" fmla="*/ 252860 w 410320"/>
                <a:gd name="connsiteY10" fmla="*/ 252747 h 410137"/>
                <a:gd name="connsiteX11" fmla="*/ 410321 w 410320"/>
                <a:gd name="connsiteY11" fmla="*/ 252747 h 410137"/>
                <a:gd name="connsiteX12" fmla="*/ 410321 w 410320"/>
                <a:gd name="connsiteY12" fmla="*/ 157390 h 41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320" h="410137">
                  <a:moveTo>
                    <a:pt x="410321" y="157390"/>
                  </a:moveTo>
                  <a:lnTo>
                    <a:pt x="252860" y="157390"/>
                  </a:lnTo>
                  <a:lnTo>
                    <a:pt x="252860" y="0"/>
                  </a:lnTo>
                  <a:lnTo>
                    <a:pt x="157461" y="0"/>
                  </a:lnTo>
                  <a:lnTo>
                    <a:pt x="157461" y="157390"/>
                  </a:lnTo>
                  <a:lnTo>
                    <a:pt x="0" y="157390"/>
                  </a:lnTo>
                  <a:lnTo>
                    <a:pt x="0" y="252747"/>
                  </a:lnTo>
                  <a:lnTo>
                    <a:pt x="157461" y="252747"/>
                  </a:lnTo>
                  <a:lnTo>
                    <a:pt x="157461" y="410137"/>
                  </a:lnTo>
                  <a:lnTo>
                    <a:pt x="252860" y="410137"/>
                  </a:lnTo>
                  <a:lnTo>
                    <a:pt x="252860" y="252747"/>
                  </a:lnTo>
                  <a:lnTo>
                    <a:pt x="410321" y="252747"/>
                  </a:lnTo>
                  <a:lnTo>
                    <a:pt x="410321" y="157390"/>
                  </a:lnTo>
                  <a:close/>
                </a:path>
              </a:pathLst>
            </a:custGeom>
            <a:solidFill>
              <a:srgbClr val="DAFA87"/>
            </a:solidFill>
            <a:ln w="0" cap="flat">
              <a:noFill/>
              <a:prstDash val="solid"/>
              <a:miter/>
            </a:ln>
          </p:spPr>
          <p:txBody>
            <a:bodyPr rtlCol="0" anchor="ctr"/>
            <a:lstStyle/>
            <a:p>
              <a:endParaRPr lang="en-US"/>
            </a:p>
          </p:txBody>
        </p:sp>
        <p:sp>
          <p:nvSpPr>
            <p:cNvPr id="21" name="Freeform 67">
              <a:extLst>
                <a:ext uri="{FF2B5EF4-FFF2-40B4-BE49-F238E27FC236}">
                  <a16:creationId xmlns:a16="http://schemas.microsoft.com/office/drawing/2014/main" id="{4EA075C0-EAE6-6D23-0737-F38AB7C726E8}"/>
                </a:ext>
              </a:extLst>
            </p:cNvPr>
            <p:cNvSpPr>
              <a:spLocks noGrp="1" noRot="1" noMove="1" noResize="1" noEditPoints="1" noAdjustHandles="1" noChangeArrowheads="1" noChangeShapeType="1"/>
            </p:cNvSpPr>
            <p:nvPr userDrawn="1"/>
          </p:nvSpPr>
          <p:spPr bwMode="invGray">
            <a:xfrm>
              <a:off x="10499364" y="1344906"/>
              <a:ext cx="1749198" cy="1646957"/>
            </a:xfrm>
            <a:custGeom>
              <a:avLst/>
              <a:gdLst>
                <a:gd name="connsiteX0" fmla="*/ 0 w 1692636"/>
                <a:gd name="connsiteY0" fmla="*/ 0 h 1646957"/>
                <a:gd name="connsiteX1" fmla="*/ 1692636 w 1692636"/>
                <a:gd name="connsiteY1" fmla="*/ 0 h 1646957"/>
                <a:gd name="connsiteX2" fmla="*/ 1692636 w 1692636"/>
                <a:gd name="connsiteY2" fmla="*/ 12817 h 1646957"/>
                <a:gd name="connsiteX3" fmla="*/ 12823 w 1692636"/>
                <a:gd name="connsiteY3" fmla="*/ 12817 h 1646957"/>
                <a:gd name="connsiteX4" fmla="*/ 12823 w 1692636"/>
                <a:gd name="connsiteY4" fmla="*/ 1646957 h 1646957"/>
                <a:gd name="connsiteX5" fmla="*/ 0 w 1692636"/>
                <a:gd name="connsiteY5" fmla="*/ 1646957 h 1646957"/>
                <a:gd name="connsiteX6" fmla="*/ 0 w 1692636"/>
                <a:gd name="connsiteY6" fmla="*/ 0 h 164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636" h="1646957">
                  <a:moveTo>
                    <a:pt x="0" y="0"/>
                  </a:moveTo>
                  <a:lnTo>
                    <a:pt x="1692636" y="0"/>
                  </a:lnTo>
                  <a:lnTo>
                    <a:pt x="1692636" y="12817"/>
                  </a:lnTo>
                  <a:lnTo>
                    <a:pt x="12823" y="12817"/>
                  </a:lnTo>
                  <a:lnTo>
                    <a:pt x="12823" y="1646957"/>
                  </a:lnTo>
                  <a:lnTo>
                    <a:pt x="0" y="1646957"/>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22" name="Freeform 65">
              <a:extLst>
                <a:ext uri="{FF2B5EF4-FFF2-40B4-BE49-F238E27FC236}">
                  <a16:creationId xmlns:a16="http://schemas.microsoft.com/office/drawing/2014/main" id="{EDCA18F4-1173-720F-744E-24B43F445CD9}"/>
                </a:ext>
              </a:extLst>
            </p:cNvPr>
            <p:cNvSpPr>
              <a:spLocks noGrp="1" noRot="1" noMove="1" noResize="1" noEditPoints="1" noAdjustHandles="1" noChangeArrowheads="1" noChangeShapeType="1"/>
            </p:cNvSpPr>
            <p:nvPr userDrawn="1"/>
          </p:nvSpPr>
          <p:spPr bwMode="invGray">
            <a:xfrm>
              <a:off x="10916096" y="3395592"/>
              <a:ext cx="1332000" cy="12817"/>
            </a:xfrm>
            <a:custGeom>
              <a:avLst/>
              <a:gdLst>
                <a:gd name="connsiteX0" fmla="*/ 0 w 1275904"/>
                <a:gd name="connsiteY0" fmla="*/ 0 h 12817"/>
                <a:gd name="connsiteX1" fmla="*/ 1275904 w 1275904"/>
                <a:gd name="connsiteY1" fmla="*/ 0 h 12817"/>
                <a:gd name="connsiteX2" fmla="*/ 1275904 w 1275904"/>
                <a:gd name="connsiteY2" fmla="*/ 12817 h 12817"/>
                <a:gd name="connsiteX3" fmla="*/ 0 w 1275904"/>
                <a:gd name="connsiteY3" fmla="*/ 12817 h 12817"/>
                <a:gd name="connsiteX4" fmla="*/ 0 w 1275904"/>
                <a:gd name="connsiteY4" fmla="*/ 0 h 12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904" h="12817">
                  <a:moveTo>
                    <a:pt x="0" y="0"/>
                  </a:moveTo>
                  <a:lnTo>
                    <a:pt x="1275904" y="0"/>
                  </a:lnTo>
                  <a:lnTo>
                    <a:pt x="1275904" y="12817"/>
                  </a:lnTo>
                  <a:lnTo>
                    <a:pt x="0" y="12817"/>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sp>
        <p:nvSpPr>
          <p:cNvPr id="2" name="Title 1"/>
          <p:cNvSpPr>
            <a:spLocks noGrp="1"/>
          </p:cNvSpPr>
          <p:nvPr>
            <p:ph type="ctrTitle" hasCustomPrompt="1"/>
          </p:nvPr>
        </p:nvSpPr>
        <p:spPr>
          <a:xfrm>
            <a:off x="360000" y="1450800"/>
            <a:ext cx="5647100" cy="1820862"/>
          </a:xfrm>
          <a:noFill/>
        </p:spPr>
        <p:txBody>
          <a:bodyPr anchor="b" anchorCtr="0"/>
          <a:lstStyle>
            <a:lvl1pPr algn="l">
              <a:lnSpc>
                <a:spcPct val="85000"/>
              </a:lnSpc>
              <a:defRPr sz="6000" b="0">
                <a:solidFill>
                  <a:schemeClr val="accent1"/>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a:xfrm>
            <a:off x="360000" y="3654000"/>
            <a:ext cx="5647100" cy="2094338"/>
          </a:xfrm>
        </p:spPr>
        <p:txBody>
          <a:bodyPr/>
          <a:lstStyle>
            <a:lvl1pPr marL="0" indent="0">
              <a:lnSpc>
                <a:spcPct val="105000"/>
              </a:lnSpc>
              <a:buNone/>
              <a:defRPr sz="2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sp>
        <p:nvSpPr>
          <p:cNvPr id="15" name="Legal dynamic" descr="{&quot;templafy&quot;:{&quot;id&quot;:&quot;4b66b542-8f22-43dd-b35f-1cacc63c230d&quot;}}" title="Form.Cigna_Confidentiality.EvernorthConfidentiality">
            <a:extLst>
              <a:ext uri="{FF2B5EF4-FFF2-40B4-BE49-F238E27FC236}">
                <a16:creationId xmlns:a16="http://schemas.microsoft.com/office/drawing/2014/main" id="{9F01B46A-535C-85FD-CBBA-B7D9FD817E62}"/>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6" name="Internal Stamp dynamic" descr="{&quot;templafy&quot;:{&quot;id&quot;:&quot;7f69bd81-2438-4f64-adfb-993f535afcaa&quot;}}" title="Form.Cigna_Confidentiality.Cigna_confidentiality">
            <a:extLst>
              <a:ext uri="{FF2B5EF4-FFF2-40B4-BE49-F238E27FC236}">
                <a16:creationId xmlns:a16="http://schemas.microsoft.com/office/drawing/2014/main" id="{CC8FB2CC-F10A-4F4F-8F20-94D3B3E328E4}"/>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5" name="Dynamic logo hypermint" descr="{&quot;templafy&quot;:{&quot;id&quot;:&quot;41c6dfdb-bbe2-47f7-9178-2776f54ed93a&quot;}}">
            <a:extLst>
              <a:ext uri="{FF2B5EF4-FFF2-40B4-BE49-F238E27FC236}">
                <a16:creationId xmlns:a16="http://schemas.microsoft.com/office/drawing/2014/main" id="{3C19EF81-3E34-39A4-555D-4699D34A8C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8" name="Slide Number Placeholder 7">
            <a:extLst>
              <a:ext uri="{FF2B5EF4-FFF2-40B4-BE49-F238E27FC236}">
                <a16:creationId xmlns:a16="http://schemas.microsoft.com/office/drawing/2014/main" id="{21368A12-6B46-AF9A-75FC-C94ECC08A3C2}"/>
              </a:ext>
            </a:extLst>
          </p:cNvPr>
          <p:cNvSpPr>
            <a:spLocks noGrp="1"/>
          </p:cNvSpPr>
          <p:nvPr>
            <p:ph type="sldNum" sz="quarter" idx="15"/>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3" name="Date Placeholder 2">
            <a:extLst>
              <a:ext uri="{FF2B5EF4-FFF2-40B4-BE49-F238E27FC236}">
                <a16:creationId xmlns:a16="http://schemas.microsoft.com/office/drawing/2014/main" id="{3D9B1E3C-F360-4A90-8639-3F017A5AEE73}"/>
              </a:ext>
            </a:extLst>
          </p:cNvPr>
          <p:cNvSpPr>
            <a:spLocks noGrp="1"/>
          </p:cNvSpPr>
          <p:nvPr>
            <p:ph type="dt" sz="half" idx="16"/>
          </p:nvPr>
        </p:nvSpPr>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3201260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300">
          <p15:clr>
            <a:srgbClr val="F26B43"/>
          </p15:clr>
        </p15:guide>
        <p15:guide id="2" orient="horz" pos="2064">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 Cover and Image">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5882400"/>
          </a:xfrm>
          <a:prstGeom prst="rect">
            <a:avLst/>
          </a:prstGeom>
          <a:solidFill>
            <a:srgbClr val="3EFFC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sp>
        <p:nvSpPr>
          <p:cNvPr id="4" name="Picture Placeholder 6">
            <a:extLst>
              <a:ext uri="{FF2B5EF4-FFF2-40B4-BE49-F238E27FC236}">
                <a16:creationId xmlns:a16="http://schemas.microsoft.com/office/drawing/2014/main" id="{9B5B5357-E1FE-2D5D-1E97-D6147AC6D55B}"/>
              </a:ext>
            </a:extLst>
          </p:cNvPr>
          <p:cNvSpPr>
            <a:spLocks noGrp="1"/>
          </p:cNvSpPr>
          <p:nvPr>
            <p:ph type="pic" sz="quarter" idx="16"/>
          </p:nvPr>
        </p:nvSpPr>
        <p:spPr>
          <a:xfrm>
            <a:off x="5690403" y="2"/>
            <a:ext cx="6501219" cy="5882398"/>
          </a:xfrm>
          <a:custGeom>
            <a:avLst/>
            <a:gdLst>
              <a:gd name="connsiteX0" fmla="*/ 4452578 w 6501219"/>
              <a:gd name="connsiteY0" fmla="*/ 0 h 5882398"/>
              <a:gd name="connsiteX1" fmla="*/ 6501219 w 6501219"/>
              <a:gd name="connsiteY1" fmla="*/ 0 h 5882398"/>
              <a:gd name="connsiteX2" fmla="*/ 6501219 w 6501219"/>
              <a:gd name="connsiteY2" fmla="*/ 5882398 h 5882398"/>
              <a:gd name="connsiteX3" fmla="*/ 0 w 6501219"/>
              <a:gd name="connsiteY3" fmla="*/ 5882398 h 5882398"/>
              <a:gd name="connsiteX4" fmla="*/ 0 w 6501219"/>
              <a:gd name="connsiteY4" fmla="*/ 4449965 h 5882398"/>
              <a:gd name="connsiteX5" fmla="*/ 3693 w 6501219"/>
              <a:gd name="connsiteY5" fmla="*/ 4376844 h 5882398"/>
              <a:gd name="connsiteX6" fmla="*/ 742025 w 6501219"/>
              <a:gd name="connsiteY6" fmla="*/ 3710572 h 5882398"/>
              <a:gd name="connsiteX7" fmla="*/ 3153904 w 6501219"/>
              <a:gd name="connsiteY7" fmla="*/ 3710572 h 5882398"/>
              <a:gd name="connsiteX8" fmla="*/ 3710432 w 6501219"/>
              <a:gd name="connsiteY8" fmla="*/ 3154043 h 5882398"/>
              <a:gd name="connsiteX9" fmla="*/ 3710432 w 6501219"/>
              <a:gd name="connsiteY9" fmla="*/ 742164 h 5882398"/>
              <a:gd name="connsiteX10" fmla="*/ 4376726 w 6501219"/>
              <a:gd name="connsiteY10" fmla="*/ 3830 h 588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01219" h="5882398">
                <a:moveTo>
                  <a:pt x="4452578" y="0"/>
                </a:moveTo>
                <a:lnTo>
                  <a:pt x="6501219" y="0"/>
                </a:lnTo>
                <a:lnTo>
                  <a:pt x="6501219" y="5882398"/>
                </a:lnTo>
                <a:lnTo>
                  <a:pt x="0" y="5882398"/>
                </a:lnTo>
                <a:lnTo>
                  <a:pt x="0" y="4449965"/>
                </a:lnTo>
                <a:lnTo>
                  <a:pt x="3693" y="4376844"/>
                </a:lnTo>
                <a:cubicBezTo>
                  <a:pt x="41705" y="4002555"/>
                  <a:pt x="357813" y="3710572"/>
                  <a:pt x="742025" y="3710572"/>
                </a:cubicBezTo>
                <a:lnTo>
                  <a:pt x="3153904" y="3710572"/>
                </a:lnTo>
                <a:cubicBezTo>
                  <a:pt x="3461178" y="3710572"/>
                  <a:pt x="3710432" y="3461444"/>
                  <a:pt x="3710432" y="3154043"/>
                </a:cubicBezTo>
                <a:lnTo>
                  <a:pt x="3710432" y="742164"/>
                </a:lnTo>
                <a:cubicBezTo>
                  <a:pt x="3710432" y="357833"/>
                  <a:pt x="4002528" y="41829"/>
                  <a:pt x="4376726" y="3830"/>
                </a:cubicBezTo>
                <a:close/>
              </a:path>
            </a:pathLst>
          </a:custGeom>
          <a:solidFill>
            <a:schemeClr val="bg1">
              <a:lumMod val="85000"/>
            </a:schemeClr>
          </a:solidFill>
        </p:spPr>
        <p:txBody>
          <a:bodyPr wrap="square" lIns="3060000" anchor="ctr" anchorCtr="0">
            <a:noAutofit/>
          </a:bodyPr>
          <a:lstStyle>
            <a:lvl1pPr marL="0" indent="0" algn="ctr">
              <a:buNone/>
              <a:defRPr>
                <a:solidFill>
                  <a:schemeClr val="tx1"/>
                </a:solidFill>
              </a:defRPr>
            </a:lvl1pPr>
          </a:lstStyle>
          <a:p>
            <a:r>
              <a:rPr lang="en-US"/>
              <a:t>Click icon to add picture</a:t>
            </a:r>
          </a:p>
        </p:txBody>
      </p:sp>
      <p:sp>
        <p:nvSpPr>
          <p:cNvPr id="2" name="Title 1"/>
          <p:cNvSpPr>
            <a:spLocks noGrp="1"/>
          </p:cNvSpPr>
          <p:nvPr>
            <p:ph type="ctrTitle" hasCustomPrompt="1"/>
          </p:nvPr>
        </p:nvSpPr>
        <p:spPr>
          <a:xfrm>
            <a:off x="360000" y="1454400"/>
            <a:ext cx="4856400" cy="1820862"/>
          </a:xfrm>
          <a:noFill/>
        </p:spPr>
        <p:txBody>
          <a:bodyPr anchor="b" anchorCtr="0"/>
          <a:lstStyle>
            <a:lvl1pPr algn="l">
              <a:lnSpc>
                <a:spcPct val="85000"/>
              </a:lnSpc>
              <a:defRPr sz="6000" b="0">
                <a:solidFill>
                  <a:srgbClr val="035C67"/>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a:xfrm>
            <a:off x="360000" y="3654000"/>
            <a:ext cx="4856400" cy="2094338"/>
          </a:xfrm>
        </p:spPr>
        <p:txBody>
          <a:bodyPr/>
          <a:lstStyle>
            <a:lvl1pPr marL="0" indent="0">
              <a:lnSpc>
                <a:spcPct val="105000"/>
              </a:lnSpc>
              <a:buNone/>
              <a:defRPr sz="2200">
                <a:solidFill>
                  <a:srgbClr val="002F3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sp>
        <p:nvSpPr>
          <p:cNvPr id="12" name="Slide Number Placeholder 11">
            <a:extLst>
              <a:ext uri="{FF2B5EF4-FFF2-40B4-BE49-F238E27FC236}">
                <a16:creationId xmlns:a16="http://schemas.microsoft.com/office/drawing/2014/main" id="{07FD3D6C-FCD8-F632-6BC8-2FE8AD58A4BD}"/>
              </a:ext>
            </a:extLst>
          </p:cNvPr>
          <p:cNvSpPr>
            <a:spLocks noGrp="1"/>
          </p:cNvSpPr>
          <p:nvPr>
            <p:ph type="sldNum" sz="quarter" idx="15"/>
          </p:nvPr>
        </p:nvSpPr>
        <p:spPr/>
        <p:txBody>
          <a:bodyPr/>
          <a:lstStyle/>
          <a:p>
            <a:fld id="{23AA811B-2EBD-4900-905E-5BE206449611}" type="slidenum">
              <a:rPr lang="en-US" smtClean="0"/>
              <a:pPr/>
              <a:t>‹#›</a:t>
            </a:fld>
            <a:endParaRPr lang="en-US"/>
          </a:p>
        </p:txBody>
      </p:sp>
      <p:sp>
        <p:nvSpPr>
          <p:cNvPr id="3" name="Date Placeholder 2">
            <a:extLst>
              <a:ext uri="{FF2B5EF4-FFF2-40B4-BE49-F238E27FC236}">
                <a16:creationId xmlns:a16="http://schemas.microsoft.com/office/drawing/2014/main" id="{DD26A517-A028-3529-8A81-9AF4890BB66F}"/>
              </a:ext>
            </a:extLst>
          </p:cNvPr>
          <p:cNvSpPr>
            <a:spLocks noGrp="1"/>
          </p:cNvSpPr>
          <p:nvPr>
            <p:ph type="dt" sz="half" idx="17"/>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2836719411"/>
      </p:ext>
    </p:extLst>
  </p:cSld>
  <p:clrMapOvr>
    <a:masterClrMapping/>
  </p:clrMapOvr>
  <p:extLst>
    <p:ext uri="{DCECCB84-F9BA-43D5-87BE-67443E8EF086}">
      <p15:sldGuideLst xmlns:p15="http://schemas.microsoft.com/office/powerpoint/2012/main">
        <p15:guide id="1" orient="horz" pos="2300">
          <p15:clr>
            <a:srgbClr val="F26B43"/>
          </p15:clr>
        </p15:guide>
        <p15:guide id="2" orient="horz" pos="206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 Agenda">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8E7BD0E-27C8-430D-BAE4-F0A6C08D73C3}"/>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4" name="Title 3">
            <a:extLst>
              <a:ext uri="{FF2B5EF4-FFF2-40B4-BE49-F238E27FC236}">
                <a16:creationId xmlns:a16="http://schemas.microsoft.com/office/drawing/2014/main" id="{4DA34FC1-13BF-4B3F-3A43-4873DB519696}"/>
              </a:ext>
            </a:extLst>
          </p:cNvPr>
          <p:cNvSpPr>
            <a:spLocks noGrp="1"/>
          </p:cNvSpPr>
          <p:nvPr>
            <p:ph type="title" hasCustomPrompt="1"/>
          </p:nvPr>
        </p:nvSpPr>
        <p:spPr>
          <a:xfrm>
            <a:off x="360000" y="2203200"/>
            <a:ext cx="3704000" cy="3545138"/>
          </a:xfrm>
        </p:spPr>
        <p:txBody>
          <a:bodyPr/>
          <a:lstStyle>
            <a:lvl1pPr>
              <a:defRPr sz="4400" b="0">
                <a:solidFill>
                  <a:srgbClr val="035C67"/>
                </a:solidFill>
              </a:defRPr>
            </a:lvl1pPr>
          </a:lstStyle>
          <a:p>
            <a:r>
              <a:rPr lang="en-US"/>
              <a:t>Click to add Agenda title</a:t>
            </a:r>
          </a:p>
        </p:txBody>
      </p:sp>
      <p:sp>
        <p:nvSpPr>
          <p:cNvPr id="5" name="Text Placeholder 4">
            <a:extLst>
              <a:ext uri="{FF2B5EF4-FFF2-40B4-BE49-F238E27FC236}">
                <a16:creationId xmlns:a16="http://schemas.microsoft.com/office/drawing/2014/main" id="{DC660A57-127C-4DEF-AB06-FFF0DF48E8C9}"/>
              </a:ext>
            </a:extLst>
          </p:cNvPr>
          <p:cNvSpPr>
            <a:spLocks noGrp="1"/>
          </p:cNvSpPr>
          <p:nvPr>
            <p:ph type="body" sz="quarter" idx="17" hasCustomPrompt="1"/>
          </p:nvPr>
        </p:nvSpPr>
        <p:spPr>
          <a:xfrm>
            <a:off x="5214938" y="2366128"/>
            <a:ext cx="4673600" cy="3382209"/>
          </a:xfrm>
        </p:spPr>
        <p:txBody>
          <a:bodyPr tIns="0" anchor="t" anchorCtr="0"/>
          <a:lstStyle>
            <a:lvl1pPr marL="0" indent="0">
              <a:lnSpc>
                <a:spcPct val="100000"/>
              </a:lnSpc>
              <a:spcBef>
                <a:spcPts val="600"/>
              </a:spcBef>
              <a:spcAft>
                <a:spcPts val="0"/>
              </a:spcAft>
              <a:buFont typeface="Arial" panose="020B0604020202020204" pitchFamily="34" charset="0"/>
              <a:buChar char="​"/>
              <a:defRPr sz="2000">
                <a:solidFill>
                  <a:srgbClr val="002F32"/>
                </a:solidFill>
                <a:latin typeface="+mn-lt"/>
              </a:defRPr>
            </a:lvl1pPr>
            <a:lvl2pPr marL="0" indent="0">
              <a:lnSpc>
                <a:spcPct val="100000"/>
              </a:lnSpc>
              <a:spcBef>
                <a:spcPts val="600"/>
              </a:spcBef>
              <a:spcAft>
                <a:spcPts val="0"/>
              </a:spcAft>
              <a:buFont typeface="Arial" panose="020B0604020202020204" pitchFamily="34" charset="0"/>
              <a:buChar char="​"/>
              <a:defRPr sz="2000">
                <a:solidFill>
                  <a:srgbClr val="002F32"/>
                </a:solidFill>
                <a:latin typeface="+mn-lt"/>
              </a:defRPr>
            </a:lvl2pPr>
            <a:lvl3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3pPr>
            <a:lvl4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4pPr>
            <a:lvl5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5pPr>
            <a:lvl6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6pPr>
            <a:lvl7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7pPr>
            <a:lvl8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8pPr>
            <a:lvl9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9pPr>
          </a:lstStyle>
          <a:p>
            <a:pPr lvl="0"/>
            <a:r>
              <a:rPr lang="en-US"/>
              <a:t>Click to add agenda point</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6" name="Legal dynamic" descr="{&quot;templafy&quot;:{&quot;id&quot;:&quot;966f8339-8b9a-4d66-904e-fbb151a3a3d8&quot;}}" title="Form.Cigna_Confidentiality.EvernorthConfidentiality">
            <a:extLst>
              <a:ext uri="{FF2B5EF4-FFF2-40B4-BE49-F238E27FC236}">
                <a16:creationId xmlns:a16="http://schemas.microsoft.com/office/drawing/2014/main" id="{4AECE3EA-EFA7-0C7A-9472-5E4A770184C9}"/>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7" name="Internal Stamp dynamic" descr="{&quot;templafy&quot;:{&quot;id&quot;:&quot;5bd0b936-be44-4e2c-952c-107542493e7a&quot;}}" title="Form.Cigna_Confidentiality.Cigna_confidentiality">
            <a:extLst>
              <a:ext uri="{FF2B5EF4-FFF2-40B4-BE49-F238E27FC236}">
                <a16:creationId xmlns:a16="http://schemas.microsoft.com/office/drawing/2014/main" id="{7E1D228E-376C-EFBD-BA9A-C012A20925C9}"/>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dark mint" descr="{&quot;templafy&quot;:{&quot;id&quot;:&quot;5fb3fa47-f52a-48f2-b4e7-2b793621544b&quot;}}">
            <a:extLst>
              <a:ext uri="{FF2B5EF4-FFF2-40B4-BE49-F238E27FC236}">
                <a16:creationId xmlns:a16="http://schemas.microsoft.com/office/drawing/2014/main" id="{F34CC946-B5B2-5687-BAB6-8D2F975D48E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6" name="Slide Number Placeholder 5">
            <a:extLst>
              <a:ext uri="{FF2B5EF4-FFF2-40B4-BE49-F238E27FC236}">
                <a16:creationId xmlns:a16="http://schemas.microsoft.com/office/drawing/2014/main" id="{4E2E63EE-F594-F896-5DA2-E913C014807D}"/>
              </a:ext>
            </a:extLst>
          </p:cNvPr>
          <p:cNvSpPr>
            <a:spLocks noGrp="1"/>
          </p:cNvSpPr>
          <p:nvPr>
            <p:ph type="sldNum" sz="quarter" idx="19"/>
          </p:nvPr>
        </p:nvSpPr>
        <p:spPr/>
        <p:txBody>
          <a:bodyPr/>
          <a:lstStyle/>
          <a:p>
            <a:fld id="{23AA811B-2EBD-4900-905E-5BE206449611}" type="slidenum">
              <a:rPr lang="en-US" smtClean="0"/>
              <a:pPr/>
              <a:t>‹#›</a:t>
            </a:fld>
            <a:endParaRPr lang="en-US"/>
          </a:p>
        </p:txBody>
      </p:sp>
      <p:sp>
        <p:nvSpPr>
          <p:cNvPr id="7" name="Date Placeholder 6">
            <a:extLst>
              <a:ext uri="{FF2B5EF4-FFF2-40B4-BE49-F238E27FC236}">
                <a16:creationId xmlns:a16="http://schemas.microsoft.com/office/drawing/2014/main" id="{9F1390C6-2354-CD16-EEB4-2EAD2276F7FF}"/>
              </a:ext>
            </a:extLst>
          </p:cNvPr>
          <p:cNvSpPr>
            <a:spLocks noGrp="1"/>
          </p:cNvSpPr>
          <p:nvPr>
            <p:ph type="dt" sz="half" idx="20"/>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69659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 Agenda">
    <p:bg>
      <p:bgPr>
        <a:solidFill>
          <a:schemeClr val="accent3"/>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8E7BD0E-27C8-430D-BAE4-F0A6C08D73C3}"/>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4" name="Title 3">
            <a:extLst>
              <a:ext uri="{FF2B5EF4-FFF2-40B4-BE49-F238E27FC236}">
                <a16:creationId xmlns:a16="http://schemas.microsoft.com/office/drawing/2014/main" id="{4DA34FC1-13BF-4B3F-3A43-4873DB519696}"/>
              </a:ext>
            </a:extLst>
          </p:cNvPr>
          <p:cNvSpPr>
            <a:spLocks noGrp="1"/>
          </p:cNvSpPr>
          <p:nvPr>
            <p:ph type="title" hasCustomPrompt="1"/>
          </p:nvPr>
        </p:nvSpPr>
        <p:spPr>
          <a:xfrm>
            <a:off x="360000" y="2203200"/>
            <a:ext cx="3704000" cy="3545138"/>
          </a:xfrm>
        </p:spPr>
        <p:txBody>
          <a:bodyPr/>
          <a:lstStyle>
            <a:lvl1pPr>
              <a:defRPr sz="4400" b="0">
                <a:solidFill>
                  <a:srgbClr val="3EFFC0"/>
                </a:solidFill>
              </a:defRPr>
            </a:lvl1pPr>
          </a:lstStyle>
          <a:p>
            <a:r>
              <a:rPr lang="en-US"/>
              <a:t>Click to add Agenda title</a:t>
            </a:r>
          </a:p>
        </p:txBody>
      </p:sp>
      <p:sp>
        <p:nvSpPr>
          <p:cNvPr id="12" name="Text Placeholder 4">
            <a:extLst>
              <a:ext uri="{FF2B5EF4-FFF2-40B4-BE49-F238E27FC236}">
                <a16:creationId xmlns:a16="http://schemas.microsoft.com/office/drawing/2014/main" id="{DDDDCD73-5AD2-864C-AC8A-B98929A7E5BB}"/>
              </a:ext>
            </a:extLst>
          </p:cNvPr>
          <p:cNvSpPr>
            <a:spLocks noGrp="1"/>
          </p:cNvSpPr>
          <p:nvPr>
            <p:ph type="body" sz="quarter" idx="17" hasCustomPrompt="1"/>
          </p:nvPr>
        </p:nvSpPr>
        <p:spPr>
          <a:xfrm>
            <a:off x="5214938" y="2366128"/>
            <a:ext cx="4673600" cy="3382209"/>
          </a:xfrm>
        </p:spPr>
        <p:txBody>
          <a:bodyPr tIns="0" anchor="t" anchorCtr="0"/>
          <a:lstStyle>
            <a:lvl1pPr marL="0" indent="0">
              <a:lnSpc>
                <a:spcPct val="100000"/>
              </a:lnSpc>
              <a:spcBef>
                <a:spcPts val="600"/>
              </a:spcBef>
              <a:spcAft>
                <a:spcPts val="0"/>
              </a:spcAft>
              <a:buFont typeface="Arial" panose="020B0604020202020204" pitchFamily="34" charset="0"/>
              <a:buChar char="​"/>
              <a:defRPr sz="2000">
                <a:solidFill>
                  <a:schemeClr val="tx2"/>
                </a:solidFill>
                <a:latin typeface="+mn-lt"/>
              </a:defRPr>
            </a:lvl1pPr>
            <a:lvl2pPr marL="0" indent="0">
              <a:lnSpc>
                <a:spcPct val="100000"/>
              </a:lnSpc>
              <a:spcBef>
                <a:spcPts val="600"/>
              </a:spcBef>
              <a:spcAft>
                <a:spcPts val="0"/>
              </a:spcAft>
              <a:buFont typeface="Arial" panose="020B0604020202020204" pitchFamily="34" charset="0"/>
              <a:buChar char="​"/>
              <a:defRPr sz="2000">
                <a:solidFill>
                  <a:schemeClr val="tx2"/>
                </a:solidFill>
                <a:latin typeface="+mn-lt"/>
              </a:defRPr>
            </a:lvl2pPr>
            <a:lvl3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3pPr>
            <a:lvl4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4pPr>
            <a:lvl5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5pPr>
            <a:lvl6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6pPr>
            <a:lvl7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7pPr>
            <a:lvl8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8pPr>
            <a:lvl9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9pPr>
          </a:lstStyle>
          <a:p>
            <a:pPr lvl="0"/>
            <a:r>
              <a:rPr lang="en-US"/>
              <a:t>Click to add agenda point</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1" name="Slide Number Placeholder 10">
            <a:extLst>
              <a:ext uri="{FF2B5EF4-FFF2-40B4-BE49-F238E27FC236}">
                <a16:creationId xmlns:a16="http://schemas.microsoft.com/office/drawing/2014/main" id="{B0FD35E2-F2E6-6653-29B2-8F6E539CF094}"/>
              </a:ext>
            </a:extLst>
          </p:cNvPr>
          <p:cNvSpPr>
            <a:spLocks noGrp="1"/>
          </p:cNvSpPr>
          <p:nvPr>
            <p:ph type="sldNum" sz="quarter" idx="19"/>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2" name="Legal dynamic" descr="{&quot;templafy&quot;:{&quot;id&quot;:&quot;18e058e6-7c34-488f-b3d2-5f58edd3fac0&quot;}}" title="Form.Cigna_Confidentiality.EvernorthConfidentiality">
            <a:extLst>
              <a:ext uri="{FF2B5EF4-FFF2-40B4-BE49-F238E27FC236}">
                <a16:creationId xmlns:a16="http://schemas.microsoft.com/office/drawing/2014/main" id="{268C503F-CFE7-20E6-FBC5-DED9DAB603E9}"/>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ee59fe2e-3615-4a8c-a842-6c15057d348b&quot;}}" title="Form.Cigna_Confidentiality.Cigna_confidentiality">
            <a:extLst>
              <a:ext uri="{FF2B5EF4-FFF2-40B4-BE49-F238E27FC236}">
                <a16:creationId xmlns:a16="http://schemas.microsoft.com/office/drawing/2014/main" id="{740196C2-8B6F-D9C8-1E6D-B5A8BE52DF38}"/>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a50703c3-9de4-49b0-9abd-7c3b5b4578a4&quot;}}">
            <a:extLst>
              <a:ext uri="{FF2B5EF4-FFF2-40B4-BE49-F238E27FC236}">
                <a16:creationId xmlns:a16="http://schemas.microsoft.com/office/drawing/2014/main" id="{AAB9A3FF-D839-C50A-5F04-C1D0C36710C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5" name="Date Placeholder 4">
            <a:extLst>
              <a:ext uri="{FF2B5EF4-FFF2-40B4-BE49-F238E27FC236}">
                <a16:creationId xmlns:a16="http://schemas.microsoft.com/office/drawing/2014/main" id="{B62E4723-786B-C72A-A327-E0A4424C20AD}"/>
              </a:ext>
            </a:extLst>
          </p:cNvPr>
          <p:cNvSpPr>
            <a:spLocks noGrp="1"/>
          </p:cNvSpPr>
          <p:nvPr>
            <p:ph type="dt" sz="half" idx="20"/>
          </p:nvPr>
        </p:nvSpPr>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921559563"/>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 Agenda">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8E7BD0E-27C8-430D-BAE4-F0A6C08D73C3}"/>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pic>
        <p:nvPicPr>
          <p:cNvPr id="5" name="Cross">
            <a:extLst>
              <a:ext uri="{FF2B5EF4-FFF2-40B4-BE49-F238E27FC236}">
                <a16:creationId xmlns:a16="http://schemas.microsoft.com/office/drawing/2014/main" id="{C92FFFE7-8E9A-29A5-E96E-755AE42D9D15}"/>
              </a:ext>
            </a:extLst>
          </p:cNvPr>
          <p:cNvPicPr>
            <a:picLocks noGrp="1" noRot="1" noChangeAspect="1" noMove="1" noResize="1" noEditPoints="1" noAdjustHandles="1" noChangeArrowheads="1" noChangeShapeType="1" noCrop="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6" name="Title 3">
            <a:extLst>
              <a:ext uri="{FF2B5EF4-FFF2-40B4-BE49-F238E27FC236}">
                <a16:creationId xmlns:a16="http://schemas.microsoft.com/office/drawing/2014/main" id="{4D34514C-F316-0E5D-62BD-5EAD744962E2}"/>
              </a:ext>
            </a:extLst>
          </p:cNvPr>
          <p:cNvSpPr>
            <a:spLocks noGrp="1"/>
          </p:cNvSpPr>
          <p:nvPr>
            <p:ph type="title" hasCustomPrompt="1"/>
          </p:nvPr>
        </p:nvSpPr>
        <p:spPr>
          <a:xfrm>
            <a:off x="360000" y="2203200"/>
            <a:ext cx="3704000" cy="3545138"/>
          </a:xfrm>
        </p:spPr>
        <p:txBody>
          <a:bodyPr/>
          <a:lstStyle>
            <a:lvl1pPr>
              <a:defRPr sz="4400" b="0">
                <a:solidFill>
                  <a:srgbClr val="035C67"/>
                </a:solidFill>
              </a:defRPr>
            </a:lvl1pPr>
          </a:lstStyle>
          <a:p>
            <a:r>
              <a:rPr lang="en-US"/>
              <a:t>Click to add Agenda title</a:t>
            </a:r>
          </a:p>
        </p:txBody>
      </p:sp>
      <p:sp>
        <p:nvSpPr>
          <p:cNvPr id="10" name="Text Placeholder 4">
            <a:extLst>
              <a:ext uri="{FF2B5EF4-FFF2-40B4-BE49-F238E27FC236}">
                <a16:creationId xmlns:a16="http://schemas.microsoft.com/office/drawing/2014/main" id="{54633038-2425-0DD8-C475-EB72D5A41B0D}"/>
              </a:ext>
            </a:extLst>
          </p:cNvPr>
          <p:cNvSpPr>
            <a:spLocks noGrp="1"/>
          </p:cNvSpPr>
          <p:nvPr>
            <p:ph type="body" sz="quarter" idx="17" hasCustomPrompt="1"/>
          </p:nvPr>
        </p:nvSpPr>
        <p:spPr>
          <a:xfrm>
            <a:off x="5214938" y="2366128"/>
            <a:ext cx="4673600" cy="3382209"/>
          </a:xfrm>
        </p:spPr>
        <p:txBody>
          <a:bodyPr tIns="0" anchor="t" anchorCtr="0"/>
          <a:lstStyle>
            <a:lvl1pPr marL="0" indent="0">
              <a:lnSpc>
                <a:spcPct val="100000"/>
              </a:lnSpc>
              <a:spcBef>
                <a:spcPts val="600"/>
              </a:spcBef>
              <a:spcAft>
                <a:spcPts val="0"/>
              </a:spcAft>
              <a:buFont typeface="Arial" panose="020B0604020202020204" pitchFamily="34" charset="0"/>
              <a:buChar char="​"/>
              <a:defRPr sz="2000">
                <a:solidFill>
                  <a:srgbClr val="002F32"/>
                </a:solidFill>
                <a:latin typeface="+mn-lt"/>
              </a:defRPr>
            </a:lvl1pPr>
            <a:lvl2pPr marL="0" indent="0">
              <a:lnSpc>
                <a:spcPct val="100000"/>
              </a:lnSpc>
              <a:spcBef>
                <a:spcPts val="600"/>
              </a:spcBef>
              <a:spcAft>
                <a:spcPts val="0"/>
              </a:spcAft>
              <a:buFont typeface="Arial" panose="020B0604020202020204" pitchFamily="34" charset="0"/>
              <a:buChar char="​"/>
              <a:defRPr sz="2000">
                <a:solidFill>
                  <a:srgbClr val="002F32"/>
                </a:solidFill>
                <a:latin typeface="+mn-lt"/>
              </a:defRPr>
            </a:lvl2pPr>
            <a:lvl3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3pPr>
            <a:lvl4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4pPr>
            <a:lvl5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5pPr>
            <a:lvl6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6pPr>
            <a:lvl7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7pPr>
            <a:lvl8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8pPr>
            <a:lvl9pPr marL="0" indent="0">
              <a:lnSpc>
                <a:spcPct val="100000"/>
              </a:lnSpc>
              <a:spcBef>
                <a:spcPts val="600"/>
              </a:spcBef>
              <a:spcAft>
                <a:spcPts val="0"/>
              </a:spcAft>
              <a:buFont typeface="Arial" panose="020B0604020202020204" pitchFamily="34" charset="0"/>
              <a:buChar char="​"/>
              <a:defRPr sz="2000" b="0">
                <a:solidFill>
                  <a:srgbClr val="002F32"/>
                </a:solidFill>
                <a:latin typeface="+mn-lt"/>
              </a:defRPr>
            </a:lvl9pPr>
          </a:lstStyle>
          <a:p>
            <a:pPr lvl="0"/>
            <a:r>
              <a:rPr lang="en-US"/>
              <a:t>Click to add agenda point</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6" name="Legal dynamic" descr="{&quot;templafy&quot;:{&quot;id&quot;:&quot;086fcaad-3a7b-41a6-9ed1-82c4ec8db0c9&quot;}}" title="Form.Cigna_Confidentiality.EvernorthConfidentiality">
            <a:extLst>
              <a:ext uri="{FF2B5EF4-FFF2-40B4-BE49-F238E27FC236}">
                <a16:creationId xmlns:a16="http://schemas.microsoft.com/office/drawing/2014/main" id="{4AECE3EA-EFA7-0C7A-9472-5E4A770184C9}"/>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7" name="Internal Stamp dynamic" descr="{&quot;templafy&quot;:{&quot;id&quot;:&quot;093e651d-4cc0-49d0-add4-069f9ee856be&quot;}}" title="Form.Cigna_Confidentiality.Cigna_confidentiality">
            <a:extLst>
              <a:ext uri="{FF2B5EF4-FFF2-40B4-BE49-F238E27FC236}">
                <a16:creationId xmlns:a16="http://schemas.microsoft.com/office/drawing/2014/main" id="{7E1D228E-376C-EFBD-BA9A-C012A20925C9}"/>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7" name="Dynamic logo dark mint" descr="{&quot;templafy&quot;:{&quot;id&quot;:&quot;d6fd19c7-074c-4fa7-9445-8a7b9d35a52b&quot;}}">
            <a:extLst>
              <a:ext uri="{FF2B5EF4-FFF2-40B4-BE49-F238E27FC236}">
                <a16:creationId xmlns:a16="http://schemas.microsoft.com/office/drawing/2014/main" id="{78C293CC-6573-10FC-3BBD-8029BC17D89B}"/>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1" name="Slide Number Placeholder 10">
            <a:extLst>
              <a:ext uri="{FF2B5EF4-FFF2-40B4-BE49-F238E27FC236}">
                <a16:creationId xmlns:a16="http://schemas.microsoft.com/office/drawing/2014/main" id="{B0FD35E2-F2E6-6653-29B2-8F6E539CF094}"/>
              </a:ext>
            </a:extLst>
          </p:cNvPr>
          <p:cNvSpPr>
            <a:spLocks noGrp="1"/>
          </p:cNvSpPr>
          <p:nvPr>
            <p:ph type="sldNum" sz="quarter" idx="19"/>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2" name="Date Placeholder 1">
            <a:extLst>
              <a:ext uri="{FF2B5EF4-FFF2-40B4-BE49-F238E27FC236}">
                <a16:creationId xmlns:a16="http://schemas.microsoft.com/office/drawing/2014/main" id="{C4C0564F-D334-5761-0C1D-5F68C09B2ED0}"/>
              </a:ext>
            </a:extLst>
          </p:cNvPr>
          <p:cNvSpPr>
            <a:spLocks noGrp="1"/>
          </p:cNvSpPr>
          <p:nvPr>
            <p:ph type="dt" sz="half" idx="20"/>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32857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 Agenda">
    <p:bg>
      <p:bgPr>
        <a:solidFill>
          <a:schemeClr val="accent3"/>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78E7BD0E-27C8-430D-BAE4-F0A6C08D73C3}"/>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pic>
        <p:nvPicPr>
          <p:cNvPr id="4" name="Cross">
            <a:extLst>
              <a:ext uri="{FF2B5EF4-FFF2-40B4-BE49-F238E27FC236}">
                <a16:creationId xmlns:a16="http://schemas.microsoft.com/office/drawing/2014/main" id="{6234A7BA-CD99-F7D2-315B-55E68AA7F64D}"/>
              </a:ext>
            </a:extLst>
          </p:cNvPr>
          <p:cNvPicPr>
            <a:picLocks noGrp="1" noRot="1" noChangeAspect="1" noMove="1" noResize="1" noEditPoints="1" noAdjustHandles="1" noChangeArrowheads="1" noChangeShapeType="1" noCrop="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10" name="Title 3">
            <a:extLst>
              <a:ext uri="{FF2B5EF4-FFF2-40B4-BE49-F238E27FC236}">
                <a16:creationId xmlns:a16="http://schemas.microsoft.com/office/drawing/2014/main" id="{78022C7D-B0E0-FB0C-2163-0578935E5443}"/>
              </a:ext>
            </a:extLst>
          </p:cNvPr>
          <p:cNvSpPr>
            <a:spLocks noGrp="1"/>
          </p:cNvSpPr>
          <p:nvPr>
            <p:ph type="title" hasCustomPrompt="1"/>
          </p:nvPr>
        </p:nvSpPr>
        <p:spPr>
          <a:xfrm>
            <a:off x="360000" y="2203200"/>
            <a:ext cx="3704000" cy="3545138"/>
          </a:xfrm>
        </p:spPr>
        <p:txBody>
          <a:bodyPr/>
          <a:lstStyle>
            <a:lvl1pPr>
              <a:defRPr sz="4400" b="0">
                <a:solidFill>
                  <a:srgbClr val="3EFFC0"/>
                </a:solidFill>
              </a:defRPr>
            </a:lvl1pPr>
          </a:lstStyle>
          <a:p>
            <a:r>
              <a:rPr lang="en-US"/>
              <a:t>Click to add Agenda title</a:t>
            </a:r>
          </a:p>
        </p:txBody>
      </p:sp>
      <p:sp>
        <p:nvSpPr>
          <p:cNvPr id="12" name="Text Placeholder 4">
            <a:extLst>
              <a:ext uri="{FF2B5EF4-FFF2-40B4-BE49-F238E27FC236}">
                <a16:creationId xmlns:a16="http://schemas.microsoft.com/office/drawing/2014/main" id="{0A9FA44A-FD02-40DB-44D6-98C06C0333A0}"/>
              </a:ext>
            </a:extLst>
          </p:cNvPr>
          <p:cNvSpPr>
            <a:spLocks noGrp="1"/>
          </p:cNvSpPr>
          <p:nvPr>
            <p:ph type="body" sz="quarter" idx="17" hasCustomPrompt="1"/>
          </p:nvPr>
        </p:nvSpPr>
        <p:spPr>
          <a:xfrm>
            <a:off x="5214938" y="2366128"/>
            <a:ext cx="4673600" cy="3382209"/>
          </a:xfrm>
        </p:spPr>
        <p:txBody>
          <a:bodyPr tIns="0" anchor="t" anchorCtr="0"/>
          <a:lstStyle>
            <a:lvl1pPr marL="0" indent="0">
              <a:lnSpc>
                <a:spcPct val="100000"/>
              </a:lnSpc>
              <a:spcBef>
                <a:spcPts val="600"/>
              </a:spcBef>
              <a:spcAft>
                <a:spcPts val="0"/>
              </a:spcAft>
              <a:buFont typeface="Arial" panose="020B0604020202020204" pitchFamily="34" charset="0"/>
              <a:buChar char="​"/>
              <a:defRPr sz="2000">
                <a:solidFill>
                  <a:schemeClr val="tx2"/>
                </a:solidFill>
                <a:latin typeface="+mn-lt"/>
              </a:defRPr>
            </a:lvl1pPr>
            <a:lvl2pPr marL="0" indent="0">
              <a:lnSpc>
                <a:spcPct val="100000"/>
              </a:lnSpc>
              <a:spcBef>
                <a:spcPts val="600"/>
              </a:spcBef>
              <a:spcAft>
                <a:spcPts val="0"/>
              </a:spcAft>
              <a:buFont typeface="Arial" panose="020B0604020202020204" pitchFamily="34" charset="0"/>
              <a:buChar char="​"/>
              <a:defRPr sz="2000">
                <a:solidFill>
                  <a:schemeClr val="tx2"/>
                </a:solidFill>
                <a:latin typeface="+mn-lt"/>
              </a:defRPr>
            </a:lvl2pPr>
            <a:lvl3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3pPr>
            <a:lvl4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4pPr>
            <a:lvl5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5pPr>
            <a:lvl6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6pPr>
            <a:lvl7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7pPr>
            <a:lvl8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8pPr>
            <a:lvl9pPr marL="0" indent="0">
              <a:lnSpc>
                <a:spcPct val="100000"/>
              </a:lnSpc>
              <a:spcBef>
                <a:spcPts val="600"/>
              </a:spcBef>
              <a:spcAft>
                <a:spcPts val="0"/>
              </a:spcAft>
              <a:buFont typeface="Arial" panose="020B0604020202020204" pitchFamily="34" charset="0"/>
              <a:buChar char="​"/>
              <a:defRPr sz="2000" b="0">
                <a:solidFill>
                  <a:schemeClr val="tx2"/>
                </a:solidFill>
                <a:latin typeface="+mn-lt"/>
              </a:defRPr>
            </a:lvl9pPr>
          </a:lstStyle>
          <a:p>
            <a:pPr lvl="0"/>
            <a:r>
              <a:rPr lang="en-US"/>
              <a:t>Click to add agenda point</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Legal dynamic" descr="{&quot;templafy&quot;:{&quot;id&quot;:&quot;99f36c44-1b59-4fda-a4ed-b9cdbe46ec41&quot;}}" title="Form.Cigna_Confidentiality.EvernorthConfidentiality">
            <a:extLst>
              <a:ext uri="{FF2B5EF4-FFF2-40B4-BE49-F238E27FC236}">
                <a16:creationId xmlns:a16="http://schemas.microsoft.com/office/drawing/2014/main" id="{268C503F-CFE7-20E6-FBC5-DED9DAB603E9}"/>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b14661ad-0b36-4111-b8a0-5123e0086706&quot;}}" title="Form.Cigna_Confidentiality.Cigna_confidentiality">
            <a:extLst>
              <a:ext uri="{FF2B5EF4-FFF2-40B4-BE49-F238E27FC236}">
                <a16:creationId xmlns:a16="http://schemas.microsoft.com/office/drawing/2014/main" id="{740196C2-8B6F-D9C8-1E6D-B5A8BE52DF38}"/>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c8e4830d-65b1-4e7c-a920-7daf65408d7d&quot;}}">
            <a:extLst>
              <a:ext uri="{FF2B5EF4-FFF2-40B4-BE49-F238E27FC236}">
                <a16:creationId xmlns:a16="http://schemas.microsoft.com/office/drawing/2014/main" id="{6E9BD2AA-A726-C2F5-26ED-F61236DDB9A7}"/>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1" name="Slide Number Placeholder 10">
            <a:extLst>
              <a:ext uri="{FF2B5EF4-FFF2-40B4-BE49-F238E27FC236}">
                <a16:creationId xmlns:a16="http://schemas.microsoft.com/office/drawing/2014/main" id="{B0FD35E2-F2E6-6653-29B2-8F6E539CF094}"/>
              </a:ext>
            </a:extLst>
          </p:cNvPr>
          <p:cNvSpPr>
            <a:spLocks noGrp="1"/>
          </p:cNvSpPr>
          <p:nvPr>
            <p:ph type="sldNum" sz="quarter" idx="19"/>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5" name="Date Placeholder 4">
            <a:extLst>
              <a:ext uri="{FF2B5EF4-FFF2-40B4-BE49-F238E27FC236}">
                <a16:creationId xmlns:a16="http://schemas.microsoft.com/office/drawing/2014/main" id="{9DD83E58-B5E2-834D-3ED1-7D8793FADA93}"/>
              </a:ext>
            </a:extLst>
          </p:cNvPr>
          <p:cNvSpPr>
            <a:spLocks noGrp="1"/>
          </p:cNvSpPr>
          <p:nvPr>
            <p:ph type="dt" sz="half" idx="20"/>
          </p:nvPr>
        </p:nvSpPr>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290722828"/>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 Breaker">
    <p:bg>
      <p:bgPr>
        <a:solidFill>
          <a:schemeClr val="accent3"/>
        </a:solidFill>
        <a:effectLst/>
      </p:bgPr>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25" name="Group 24">
            <a:extLst>
              <a:ext uri="{FF2B5EF4-FFF2-40B4-BE49-F238E27FC236}">
                <a16:creationId xmlns:a16="http://schemas.microsoft.com/office/drawing/2014/main" id="{53A2A458-7D49-075B-F0E7-416509352419}"/>
              </a:ext>
            </a:extLst>
          </p:cNvPr>
          <p:cNvGrpSpPr>
            <a:grpSpLocks noGrp="1" noUngrp="1" noRot="1" noMove="1" noResize="1"/>
          </p:cNvGrpSpPr>
          <p:nvPr userDrawn="1"/>
        </p:nvGrpSpPr>
        <p:grpSpPr>
          <a:xfrm>
            <a:off x="6234988" y="0"/>
            <a:ext cx="5957012" cy="6097377"/>
            <a:chOff x="6234988" y="0"/>
            <a:chExt cx="5957012" cy="6097377"/>
          </a:xfrm>
        </p:grpSpPr>
        <p:sp>
          <p:nvSpPr>
            <p:cNvPr id="15" name="Freeform: Shape 14">
              <a:extLst>
                <a:ext uri="{FF2B5EF4-FFF2-40B4-BE49-F238E27FC236}">
                  <a16:creationId xmlns:a16="http://schemas.microsoft.com/office/drawing/2014/main" id="{1593D17A-5FF8-E36B-CE4F-460A94562EC1}"/>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solidFill>
              <a:srgbClr val="3EFFC0"/>
            </a:solidFill>
            <a:ln w="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51606439-6BD3-9643-2882-1978D2AE902F}"/>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solidFill>
              <a:srgbClr val="3EFFC0"/>
            </a:solidFill>
            <a:ln w="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ADF1028D-825E-168C-FFFE-B96D9992B3EF}"/>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solidFill>
              <a:srgbClr val="3EFFC0"/>
            </a:solidFill>
            <a:ln w="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D124D34-84E7-DF5D-B26C-14194E8D5A5B}"/>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solidFill>
              <a:srgbClr val="3EFFC0"/>
            </a:solid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300" y="3069000"/>
            <a:ext cx="6504175" cy="720000"/>
          </a:xfrm>
        </p:spPr>
        <p:txBody>
          <a:bodyPr lIns="0" tIns="0" rIns="0" bIns="0" anchor="ctr" anchorCtr="0"/>
          <a:lstStyle>
            <a:lvl1pPr algn="l">
              <a:lnSpc>
                <a:spcPct val="82000"/>
              </a:lnSpc>
              <a:defRPr sz="5000" b="0" cap="none" baseline="0">
                <a:solidFill>
                  <a:schemeClr val="tx2"/>
                </a:solidFill>
              </a:defRPr>
            </a:lvl1pPr>
          </a:lstStyle>
          <a:p>
            <a:r>
              <a:rPr lang="en-US" noProof="0"/>
              <a:t>Click to add title</a:t>
            </a:r>
            <a:endParaRPr lang="en-US"/>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16" name="Legal dynamic" descr="{&quot;templafy&quot;:{&quot;id&quot;:&quot;cb6af932-9aae-42bb-bae3-ea1e52ff0f9c&quot;}}" title="Form.Cigna_Confidentiality.EvernorthConfidentiality">
            <a:extLst>
              <a:ext uri="{FF2B5EF4-FFF2-40B4-BE49-F238E27FC236}">
                <a16:creationId xmlns:a16="http://schemas.microsoft.com/office/drawing/2014/main" id="{EC7B1EFD-412E-EB56-9099-15250DADADA6}"/>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8" name="Internal Stamp dynamic" descr="{&quot;templafy&quot;:{&quot;id&quot;:&quot;bacb80e8-eebc-4abc-8098-6030e34f4385&quot;}}" title="Form.Cigna_Confidentiality.Cigna_confidentiality">
            <a:extLst>
              <a:ext uri="{FF2B5EF4-FFF2-40B4-BE49-F238E27FC236}">
                <a16:creationId xmlns:a16="http://schemas.microsoft.com/office/drawing/2014/main" id="{D48A58BB-7C46-82BD-4E2D-A6FF95A7CD8D}"/>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5" name="Dynamic logo hypermint" descr="{&quot;templafy&quot;:{&quot;id&quot;:&quot;fe7ebd4c-9f02-466a-a17f-dcebe8c3c7c3&quot;}}">
            <a:extLst>
              <a:ext uri="{FF2B5EF4-FFF2-40B4-BE49-F238E27FC236}">
                <a16:creationId xmlns:a16="http://schemas.microsoft.com/office/drawing/2014/main" id="{57062854-0788-2C11-7845-A42D5E3E36C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3" name="Date Placeholder 2">
            <a:extLst>
              <a:ext uri="{FF2B5EF4-FFF2-40B4-BE49-F238E27FC236}">
                <a16:creationId xmlns:a16="http://schemas.microsoft.com/office/drawing/2014/main" id="{82815DC7-E66B-71D2-0B5B-EDAC1F4C97BC}"/>
              </a:ext>
            </a:extLst>
          </p:cNvPr>
          <p:cNvSpPr>
            <a:spLocks noGrp="1"/>
          </p:cNvSpPr>
          <p:nvPr>
            <p:ph type="dt" sz="half" idx="13"/>
          </p:nvPr>
        </p:nvSpPr>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696310669"/>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1. Breaker">
    <p:bg>
      <p:bgPr>
        <a:solidFill>
          <a:schemeClr val="accent3"/>
        </a:solidFill>
        <a:effectLst/>
      </p:bgPr>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3" name="Group 2">
            <a:extLst>
              <a:ext uri="{FF2B5EF4-FFF2-40B4-BE49-F238E27FC236}">
                <a16:creationId xmlns:a16="http://schemas.microsoft.com/office/drawing/2014/main" id="{4182E82E-2C9A-B379-065F-0F6B3D4B1F60}"/>
              </a:ext>
            </a:extLst>
          </p:cNvPr>
          <p:cNvGrpSpPr>
            <a:grpSpLocks noGrp="1" noUngrp="1" noRot="1" noMove="1" noResize="1"/>
          </p:cNvGrpSpPr>
          <p:nvPr userDrawn="1"/>
        </p:nvGrpSpPr>
        <p:grpSpPr>
          <a:xfrm>
            <a:off x="6234988" y="0"/>
            <a:ext cx="5957012" cy="6097377"/>
            <a:chOff x="6234988" y="0"/>
            <a:chExt cx="5957012" cy="6097377"/>
          </a:xfrm>
          <a:solidFill>
            <a:srgbClr val="DAFA87"/>
          </a:solidFill>
        </p:grpSpPr>
        <p:sp>
          <p:nvSpPr>
            <p:cNvPr id="4" name="Freeform: Shape 3">
              <a:extLst>
                <a:ext uri="{FF2B5EF4-FFF2-40B4-BE49-F238E27FC236}">
                  <a16:creationId xmlns:a16="http://schemas.microsoft.com/office/drawing/2014/main" id="{35D48A27-DFCE-B5A1-0332-9513EB186BB4}"/>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grpFill/>
            <a:ln w="0"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0877405B-4912-0B09-FB06-93CD5FEE8CDD}"/>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grpFill/>
            <a:ln w="0"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982019F4-3164-E423-3AC3-C3ECCBCCF905}"/>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grp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656EDD01-43F3-2A64-8C27-417122A02DE9}"/>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grp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300" y="3069000"/>
            <a:ext cx="6504175" cy="720000"/>
          </a:xfrm>
        </p:spPr>
        <p:txBody>
          <a:bodyPr lIns="0" tIns="0" rIns="0" bIns="0" anchor="ctr" anchorCtr="0"/>
          <a:lstStyle>
            <a:lvl1pPr algn="l">
              <a:lnSpc>
                <a:spcPct val="82000"/>
              </a:lnSpc>
              <a:defRPr sz="5000" b="0" cap="none" baseline="0">
                <a:solidFill>
                  <a:schemeClr val="tx2"/>
                </a:solidFill>
              </a:defRPr>
            </a:lvl1pPr>
          </a:lstStyle>
          <a:p>
            <a:r>
              <a:rPr lang="en-US" noProof="0"/>
              <a:t>Click to add title</a:t>
            </a:r>
            <a:endParaRPr lang="en-US"/>
          </a:p>
        </p:txBody>
      </p:sp>
      <p:sp>
        <p:nvSpPr>
          <p:cNvPr id="16" name="Legal dynamic" descr="{&quot;templafy&quot;:{&quot;id&quot;:&quot;5b3f00a1-8193-41ef-8519-3708499f56b6&quot;}}" title="Form.Cigna_Confidentiality.EvernorthConfidentiality">
            <a:extLst>
              <a:ext uri="{FF2B5EF4-FFF2-40B4-BE49-F238E27FC236}">
                <a16:creationId xmlns:a16="http://schemas.microsoft.com/office/drawing/2014/main" id="{EC7B1EFD-412E-EB56-9099-15250DADADA6}"/>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8" name="Internal Stamp dynamic" descr="{&quot;templafy&quot;:{&quot;id&quot;:&quot;d7cd7bf5-9eec-4ea6-a7f3-c7788e50e6fb&quot;}}" title="Form.Cigna_Confidentiality.Cigna_confidentiality">
            <a:extLst>
              <a:ext uri="{FF2B5EF4-FFF2-40B4-BE49-F238E27FC236}">
                <a16:creationId xmlns:a16="http://schemas.microsoft.com/office/drawing/2014/main" id="{D48A58BB-7C46-82BD-4E2D-A6FF95A7CD8D}"/>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12" name="Dynamic logo hypermint" descr="{&quot;templafy&quot;:{&quot;id&quot;:&quot;1280c17d-b24c-46ac-8383-5eabbd22abb9&quot;}}">
            <a:extLst>
              <a:ext uri="{FF2B5EF4-FFF2-40B4-BE49-F238E27FC236}">
                <a16:creationId xmlns:a16="http://schemas.microsoft.com/office/drawing/2014/main" id="{0D1648DA-5862-CCFA-08AA-D391B1421C8D}"/>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11" name="Date Placeholder 2">
            <a:extLst>
              <a:ext uri="{FF2B5EF4-FFF2-40B4-BE49-F238E27FC236}">
                <a16:creationId xmlns:a16="http://schemas.microsoft.com/office/drawing/2014/main" id="{7950307B-B967-7252-C548-E828098B98AC}"/>
              </a:ext>
            </a:extLst>
          </p:cNvPr>
          <p:cNvSpPr>
            <a:spLocks noGrp="1"/>
          </p:cNvSpPr>
          <p:nvPr>
            <p:ph type="dt" sz="half" idx="13"/>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366908157"/>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2. Breaker">
    <p:bg>
      <p:bgPr>
        <a:solidFill>
          <a:schemeClr val="accent3"/>
        </a:solidFill>
        <a:effectLst/>
      </p:bgPr>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4" name="Group 3">
            <a:extLst>
              <a:ext uri="{FF2B5EF4-FFF2-40B4-BE49-F238E27FC236}">
                <a16:creationId xmlns:a16="http://schemas.microsoft.com/office/drawing/2014/main" id="{B66E3CA0-C90F-6128-18A9-4FE85C887EE6}"/>
              </a:ext>
            </a:extLst>
          </p:cNvPr>
          <p:cNvGrpSpPr>
            <a:grpSpLocks noGrp="1" noUngrp="1" noRot="1" noMove="1" noResize="1"/>
          </p:cNvGrpSpPr>
          <p:nvPr userDrawn="1"/>
        </p:nvGrpSpPr>
        <p:grpSpPr>
          <a:xfrm>
            <a:off x="6234988" y="0"/>
            <a:ext cx="5957012" cy="6097377"/>
            <a:chOff x="6234988" y="0"/>
            <a:chExt cx="5957012" cy="6097377"/>
          </a:xfrm>
          <a:solidFill>
            <a:srgbClr val="90B9FF"/>
          </a:solidFill>
        </p:grpSpPr>
        <p:sp>
          <p:nvSpPr>
            <p:cNvPr id="5" name="Freeform: Shape 4">
              <a:extLst>
                <a:ext uri="{FF2B5EF4-FFF2-40B4-BE49-F238E27FC236}">
                  <a16:creationId xmlns:a16="http://schemas.microsoft.com/office/drawing/2014/main" id="{8D307663-CD43-8EC4-0C5E-3A59CCC151AF}"/>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grpFill/>
            <a:ln w="0"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2AA43885-FB53-6A31-409F-7CEB5B158414}"/>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grp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43EFE5A-9166-ED47-AD48-948770071722}"/>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grpFill/>
            <a:ln w="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8CAE41B-9948-BC0E-E6A5-8D4D2B4AEEF0}"/>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grp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300" y="3069000"/>
            <a:ext cx="6504175" cy="720000"/>
          </a:xfrm>
        </p:spPr>
        <p:txBody>
          <a:bodyPr lIns="0" tIns="0" rIns="0" bIns="0" anchor="ctr" anchorCtr="0"/>
          <a:lstStyle>
            <a:lvl1pPr algn="l">
              <a:lnSpc>
                <a:spcPct val="82000"/>
              </a:lnSpc>
              <a:defRPr sz="5000" b="0" cap="none" baseline="0">
                <a:solidFill>
                  <a:schemeClr val="tx2"/>
                </a:solidFill>
              </a:defRPr>
            </a:lvl1pPr>
          </a:lstStyle>
          <a:p>
            <a:r>
              <a:rPr lang="en-US" noProof="0"/>
              <a:t>Click to add title</a:t>
            </a:r>
            <a:endParaRPr lang="en-US"/>
          </a:p>
        </p:txBody>
      </p:sp>
      <p:sp>
        <p:nvSpPr>
          <p:cNvPr id="16" name="Legal dynamic" descr="{&quot;templafy&quot;:{&quot;id&quot;:&quot;5df3287d-bedf-4cac-af15-aa230af936c8&quot;}}" title="Form.Cigna_Confidentiality.EvernorthConfidentiality">
            <a:extLst>
              <a:ext uri="{FF2B5EF4-FFF2-40B4-BE49-F238E27FC236}">
                <a16:creationId xmlns:a16="http://schemas.microsoft.com/office/drawing/2014/main" id="{EC7B1EFD-412E-EB56-9099-15250DADADA6}"/>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8" name="Internal Stamp dynamic" descr="{&quot;templafy&quot;:{&quot;id&quot;:&quot;5b384234-4948-4f37-99d6-98862faff047&quot;}}" title="Form.Cigna_Confidentiality.Cigna_confidentiality">
            <a:extLst>
              <a:ext uri="{FF2B5EF4-FFF2-40B4-BE49-F238E27FC236}">
                <a16:creationId xmlns:a16="http://schemas.microsoft.com/office/drawing/2014/main" id="{D48A58BB-7C46-82BD-4E2D-A6FF95A7CD8D}"/>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2d8f0c09-fba4-44f9-9810-a81cc4406107&quot;}}">
            <a:extLst>
              <a:ext uri="{FF2B5EF4-FFF2-40B4-BE49-F238E27FC236}">
                <a16:creationId xmlns:a16="http://schemas.microsoft.com/office/drawing/2014/main" id="{EB4B64D7-A947-9565-4032-8BB372A654C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12" name="Date Placeholder 2">
            <a:extLst>
              <a:ext uri="{FF2B5EF4-FFF2-40B4-BE49-F238E27FC236}">
                <a16:creationId xmlns:a16="http://schemas.microsoft.com/office/drawing/2014/main" id="{F39C80FD-35C1-E74E-4FAA-5BA9F04B6CEA}"/>
              </a:ext>
            </a:extLst>
          </p:cNvPr>
          <p:cNvSpPr>
            <a:spLocks noGrp="1"/>
          </p:cNvSpPr>
          <p:nvPr>
            <p:ph type="dt" sz="half" idx="13"/>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383082789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3. Breaker">
    <p:bg>
      <p:bgPr>
        <a:solidFill>
          <a:schemeClr val="accent3"/>
        </a:solidFill>
        <a:effectLst/>
      </p:bgPr>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4" name="Group 3">
            <a:extLst>
              <a:ext uri="{FF2B5EF4-FFF2-40B4-BE49-F238E27FC236}">
                <a16:creationId xmlns:a16="http://schemas.microsoft.com/office/drawing/2014/main" id="{B3996587-F66A-7795-7A7C-0EEA1C4E72CF}"/>
              </a:ext>
            </a:extLst>
          </p:cNvPr>
          <p:cNvGrpSpPr>
            <a:grpSpLocks noGrp="1" noUngrp="1" noRot="1" noMove="1" noResize="1"/>
          </p:cNvGrpSpPr>
          <p:nvPr userDrawn="1"/>
        </p:nvGrpSpPr>
        <p:grpSpPr>
          <a:xfrm>
            <a:off x="6234988" y="0"/>
            <a:ext cx="5957012" cy="6097377"/>
            <a:chOff x="6234988" y="0"/>
            <a:chExt cx="5957012" cy="6097377"/>
          </a:xfrm>
          <a:solidFill>
            <a:srgbClr val="E88789"/>
          </a:solidFill>
        </p:grpSpPr>
        <p:sp>
          <p:nvSpPr>
            <p:cNvPr id="5" name="Freeform: Shape 4">
              <a:extLst>
                <a:ext uri="{FF2B5EF4-FFF2-40B4-BE49-F238E27FC236}">
                  <a16:creationId xmlns:a16="http://schemas.microsoft.com/office/drawing/2014/main" id="{928EECF1-AFC8-786B-F0EB-45FB91BD3D55}"/>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grpFill/>
            <a:ln w="0"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DDBCF8A6-BFFD-66E4-8705-080161A5886B}"/>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grp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F313CBEB-4968-5C39-CF44-109B6865FD97}"/>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grpFill/>
            <a:ln w="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04A1ECFB-03D6-C2FD-EF6C-BB99A4E095CF}"/>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grp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300" y="3069000"/>
            <a:ext cx="6504175" cy="720000"/>
          </a:xfrm>
        </p:spPr>
        <p:txBody>
          <a:bodyPr lIns="0" tIns="0" rIns="0" bIns="0" anchor="ctr" anchorCtr="0"/>
          <a:lstStyle>
            <a:lvl1pPr algn="l">
              <a:lnSpc>
                <a:spcPct val="82000"/>
              </a:lnSpc>
              <a:defRPr sz="5000" b="0" cap="none" baseline="0">
                <a:solidFill>
                  <a:schemeClr val="tx2"/>
                </a:solidFill>
              </a:defRPr>
            </a:lvl1pPr>
          </a:lstStyle>
          <a:p>
            <a:r>
              <a:rPr lang="en-US" noProof="0"/>
              <a:t>Click to add title</a:t>
            </a:r>
            <a:endParaRPr lang="en-US"/>
          </a:p>
        </p:txBody>
      </p:sp>
      <p:sp>
        <p:nvSpPr>
          <p:cNvPr id="16" name="Legal dynamic" descr="{&quot;templafy&quot;:{&quot;id&quot;:&quot;26b6de72-f45b-4ec0-9051-5c8a890b674a&quot;}}" title="Form.Cigna_Confidentiality.EvernorthConfidentiality">
            <a:extLst>
              <a:ext uri="{FF2B5EF4-FFF2-40B4-BE49-F238E27FC236}">
                <a16:creationId xmlns:a16="http://schemas.microsoft.com/office/drawing/2014/main" id="{EC7B1EFD-412E-EB56-9099-15250DADADA6}"/>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8" name="Internal Stamp dynamic" descr="{&quot;templafy&quot;:{&quot;id&quot;:&quot;18554687-50af-4179-b8f5-bbadf0d35ac7&quot;}}" title="Form.Cigna_Confidentiality.Cigna_confidentiality">
            <a:extLst>
              <a:ext uri="{FF2B5EF4-FFF2-40B4-BE49-F238E27FC236}">
                <a16:creationId xmlns:a16="http://schemas.microsoft.com/office/drawing/2014/main" id="{D48A58BB-7C46-82BD-4E2D-A6FF95A7CD8D}"/>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078bcfe7-267a-42cf-be4f-e7809076b2c4&quot;}}">
            <a:extLst>
              <a:ext uri="{FF2B5EF4-FFF2-40B4-BE49-F238E27FC236}">
                <a16:creationId xmlns:a16="http://schemas.microsoft.com/office/drawing/2014/main" id="{7244239C-8F23-CE45-5F18-813AA550657D}"/>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12" name="Date Placeholder 2">
            <a:extLst>
              <a:ext uri="{FF2B5EF4-FFF2-40B4-BE49-F238E27FC236}">
                <a16:creationId xmlns:a16="http://schemas.microsoft.com/office/drawing/2014/main" id="{2343449F-F325-E863-BE8F-1ED465547EBF}"/>
              </a:ext>
            </a:extLst>
          </p:cNvPr>
          <p:cNvSpPr>
            <a:spLocks noGrp="1"/>
          </p:cNvSpPr>
          <p:nvPr>
            <p:ph type="dt" sz="half" idx="13"/>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18649635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4. Breaker">
    <p:bg>
      <p:bgPr>
        <a:solidFill>
          <a:schemeClr val="accent3"/>
        </a:solidFill>
        <a:effectLst/>
      </p:bgPr>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3" name="Group 2">
            <a:extLst>
              <a:ext uri="{FF2B5EF4-FFF2-40B4-BE49-F238E27FC236}">
                <a16:creationId xmlns:a16="http://schemas.microsoft.com/office/drawing/2014/main" id="{14495C1B-137E-E464-9AE5-C611E563C3AA}"/>
              </a:ext>
            </a:extLst>
          </p:cNvPr>
          <p:cNvGrpSpPr>
            <a:grpSpLocks noGrp="1" noUngrp="1" noRot="1" noMove="1" noResize="1"/>
          </p:cNvGrpSpPr>
          <p:nvPr userDrawn="1"/>
        </p:nvGrpSpPr>
        <p:grpSpPr>
          <a:xfrm>
            <a:off x="6234988" y="0"/>
            <a:ext cx="5957012" cy="6097377"/>
            <a:chOff x="6234988" y="0"/>
            <a:chExt cx="5957012" cy="6097377"/>
          </a:xfrm>
          <a:gradFill>
            <a:gsLst>
              <a:gs pos="0">
                <a:srgbClr val="90B9FF"/>
              </a:gs>
              <a:gs pos="96000">
                <a:schemeClr val="accent1"/>
              </a:gs>
            </a:gsLst>
            <a:path path="circle">
              <a:fillToRect r="100000" b="100000"/>
            </a:path>
          </a:gradFill>
        </p:grpSpPr>
        <p:sp>
          <p:nvSpPr>
            <p:cNvPr id="12" name="Freeform: Shape 11">
              <a:extLst>
                <a:ext uri="{FF2B5EF4-FFF2-40B4-BE49-F238E27FC236}">
                  <a16:creationId xmlns:a16="http://schemas.microsoft.com/office/drawing/2014/main" id="{37303555-3FAE-A3B3-C4E4-B941F74F4172}"/>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grpFill/>
            <a:ln w="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B31B3AC-F7E0-73BB-799E-D6E7ACEB261E}"/>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grpFill/>
            <a:ln w="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7CA41BA-F22D-82AD-404C-C6A5E4CC2F36}"/>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grpFill/>
            <a:ln w="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DD392A3-B6EC-138E-D122-C6597CF5CE4E}"/>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grp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300" y="3069000"/>
            <a:ext cx="6504175" cy="720000"/>
          </a:xfrm>
        </p:spPr>
        <p:txBody>
          <a:bodyPr lIns="0" tIns="0" rIns="0" bIns="0" anchor="ctr" anchorCtr="0"/>
          <a:lstStyle>
            <a:lvl1pPr algn="l">
              <a:lnSpc>
                <a:spcPct val="82000"/>
              </a:lnSpc>
              <a:defRPr sz="5000" b="0" cap="none" baseline="0">
                <a:solidFill>
                  <a:schemeClr val="tx2"/>
                </a:solidFill>
              </a:defRPr>
            </a:lvl1pPr>
          </a:lstStyle>
          <a:p>
            <a:r>
              <a:rPr lang="en-US" noProof="0"/>
              <a:t>Click to add title</a:t>
            </a:r>
            <a:endParaRPr lang="en-US"/>
          </a:p>
        </p:txBody>
      </p:sp>
      <p:sp>
        <p:nvSpPr>
          <p:cNvPr id="16" name="Legal dynamic" descr="{&quot;templafy&quot;:{&quot;id&quot;:&quot;23517b12-660d-4828-86b4-a1e10da68b3b&quot;}}" title="Form.Cigna_Confidentiality.EvernorthConfidentiality">
            <a:extLst>
              <a:ext uri="{FF2B5EF4-FFF2-40B4-BE49-F238E27FC236}">
                <a16:creationId xmlns:a16="http://schemas.microsoft.com/office/drawing/2014/main" id="{EC7B1EFD-412E-EB56-9099-15250DADADA6}"/>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8" name="Internal Stamp dynamic" descr="{&quot;templafy&quot;:{&quot;id&quot;:&quot;992d9946-21de-4ad2-8e01-f84892bbc72b&quot;}}" title="Form.Cigna_Confidentiality.Cigna_confidentiality">
            <a:extLst>
              <a:ext uri="{FF2B5EF4-FFF2-40B4-BE49-F238E27FC236}">
                <a16:creationId xmlns:a16="http://schemas.microsoft.com/office/drawing/2014/main" id="{D48A58BB-7C46-82BD-4E2D-A6FF95A7CD8D}"/>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6" name="Dynamic logo hypermint" descr="{&quot;templafy&quot;:{&quot;id&quot;:&quot;82d26e36-861c-4fae-a2df-81bf0819e140&quot;}}">
            <a:extLst>
              <a:ext uri="{FF2B5EF4-FFF2-40B4-BE49-F238E27FC236}">
                <a16:creationId xmlns:a16="http://schemas.microsoft.com/office/drawing/2014/main" id="{98423ADB-42BC-BDE6-002B-FAB551FD631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4" name="Date Placeholder 2">
            <a:extLst>
              <a:ext uri="{FF2B5EF4-FFF2-40B4-BE49-F238E27FC236}">
                <a16:creationId xmlns:a16="http://schemas.microsoft.com/office/drawing/2014/main" id="{EDF490C4-00BD-4198-8513-58B55FBC7E60}"/>
              </a:ext>
            </a:extLst>
          </p:cNvPr>
          <p:cNvSpPr>
            <a:spLocks noGrp="1"/>
          </p:cNvSpPr>
          <p:nvPr>
            <p:ph type="dt" sz="half" idx="13"/>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51466283"/>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 Cover">
    <p:bg bwMode="ltGray">
      <p:bgRef idx="1001">
        <a:schemeClr val="bg1"/>
      </p:bgRef>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grpSp>
        <p:nvGrpSpPr>
          <p:cNvPr id="3" name="Group graphic">
            <a:extLst>
              <a:ext uri="{FF2B5EF4-FFF2-40B4-BE49-F238E27FC236}">
                <a16:creationId xmlns:a16="http://schemas.microsoft.com/office/drawing/2014/main" id="{4C7F4774-91E3-B988-5D40-9FDA3753868E}"/>
              </a:ext>
            </a:extLst>
          </p:cNvPr>
          <p:cNvGrpSpPr>
            <a:grpSpLocks noGrp="1" noUngrp="1" noRot="1" noMove="1" noResize="1"/>
          </p:cNvGrpSpPr>
          <p:nvPr userDrawn="1"/>
        </p:nvGrpSpPr>
        <p:grpSpPr>
          <a:xfrm>
            <a:off x="6339596" y="0"/>
            <a:ext cx="5852404" cy="6858000"/>
            <a:chOff x="6396158" y="75416"/>
            <a:chExt cx="5852404" cy="6858000"/>
          </a:xfrm>
          <a:solidFill>
            <a:srgbClr val="008F83"/>
          </a:solidFill>
        </p:grpSpPr>
        <p:sp>
          <p:nvSpPr>
            <p:cNvPr id="8" name="Freeform 76">
              <a:extLst>
                <a:ext uri="{FF2B5EF4-FFF2-40B4-BE49-F238E27FC236}">
                  <a16:creationId xmlns:a16="http://schemas.microsoft.com/office/drawing/2014/main" id="{02F4C8F8-B7A1-7A56-1EE6-5574185D9830}"/>
                </a:ext>
              </a:extLst>
            </p:cNvPr>
            <p:cNvSpPr>
              <a:spLocks noGrp="1" noRot="1" noMove="1" noResize="1" noEditPoints="1" noAdjustHandles="1" noChangeArrowheads="1" noChangeShapeType="1"/>
            </p:cNvSpPr>
            <p:nvPr/>
          </p:nvSpPr>
          <p:spPr>
            <a:xfrm>
              <a:off x="10499364" y="5446278"/>
              <a:ext cx="1749198" cy="1487138"/>
            </a:xfrm>
            <a:custGeom>
              <a:avLst/>
              <a:gdLst>
                <a:gd name="connsiteX0" fmla="*/ 0 w 1698987"/>
                <a:gd name="connsiteY0" fmla="*/ 0 h 1418073"/>
                <a:gd name="connsiteX1" fmla="*/ 1698987 w 1698987"/>
                <a:gd name="connsiteY1" fmla="*/ 0 h 1418073"/>
                <a:gd name="connsiteX2" fmla="*/ 1698987 w 1698987"/>
                <a:gd name="connsiteY2" fmla="*/ 12817 h 1418073"/>
                <a:gd name="connsiteX3" fmla="*/ 12823 w 1698987"/>
                <a:gd name="connsiteY3" fmla="*/ 12817 h 1418073"/>
                <a:gd name="connsiteX4" fmla="*/ 12823 w 1698987"/>
                <a:gd name="connsiteY4" fmla="*/ 1418073 h 1418073"/>
                <a:gd name="connsiteX5" fmla="*/ 0 w 1698987"/>
                <a:gd name="connsiteY5" fmla="*/ 1418073 h 141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8987" h="1418073">
                  <a:moveTo>
                    <a:pt x="0" y="0"/>
                  </a:moveTo>
                  <a:lnTo>
                    <a:pt x="1698987" y="0"/>
                  </a:lnTo>
                  <a:lnTo>
                    <a:pt x="1698987" y="12817"/>
                  </a:lnTo>
                  <a:lnTo>
                    <a:pt x="12823" y="12817"/>
                  </a:lnTo>
                  <a:lnTo>
                    <a:pt x="12823" y="1418073"/>
                  </a:lnTo>
                  <a:lnTo>
                    <a:pt x="0" y="1418073"/>
                  </a:lnTo>
                  <a:close/>
                </a:path>
              </a:pathLst>
            </a:custGeom>
            <a:grpFill/>
            <a:ln w="0" cap="flat">
              <a:noFill/>
              <a:prstDash val="solid"/>
              <a:miter/>
            </a:ln>
          </p:spPr>
          <p:txBody>
            <a:bodyPr rtlCol="0" anchor="ctr"/>
            <a:lstStyle/>
            <a:p>
              <a:endParaRPr lang="en-US"/>
            </a:p>
          </p:txBody>
        </p:sp>
        <p:sp>
          <p:nvSpPr>
            <p:cNvPr id="12" name="Freeform 21">
              <a:extLst>
                <a:ext uri="{FF2B5EF4-FFF2-40B4-BE49-F238E27FC236}">
                  <a16:creationId xmlns:a16="http://schemas.microsoft.com/office/drawing/2014/main" id="{B4D69A73-9849-A768-CDB9-946001B253AF}"/>
                </a:ext>
              </a:extLst>
            </p:cNvPr>
            <p:cNvSpPr>
              <a:spLocks noGrp="1" noRot="1" noMove="1" noResize="1" noEditPoints="1" noAdjustHandles="1" noChangeArrowheads="1" noChangeShapeType="1"/>
            </p:cNvSpPr>
            <p:nvPr/>
          </p:nvSpPr>
          <p:spPr>
            <a:xfrm>
              <a:off x="8447761" y="3395591"/>
              <a:ext cx="2064425" cy="2063502"/>
            </a:xfrm>
            <a:custGeom>
              <a:avLst/>
              <a:gdLst>
                <a:gd name="connsiteX0" fmla="*/ 2064426 w 2064425"/>
                <a:gd name="connsiteY0" fmla="*/ 2063503 h 2063502"/>
                <a:gd name="connsiteX1" fmla="*/ 314152 w 2064425"/>
                <a:gd name="connsiteY1" fmla="*/ 2063503 h 2063502"/>
                <a:gd name="connsiteX2" fmla="*/ 0 w 2064425"/>
                <a:gd name="connsiteY2" fmla="*/ 1749491 h 2063502"/>
                <a:gd name="connsiteX3" fmla="*/ 0 w 2064425"/>
                <a:gd name="connsiteY3" fmla="*/ 314011 h 2063502"/>
                <a:gd name="connsiteX4" fmla="*/ 314152 w 2064425"/>
                <a:gd name="connsiteY4" fmla="*/ 0 h 2063502"/>
                <a:gd name="connsiteX5" fmla="*/ 1647438 w 2064425"/>
                <a:gd name="connsiteY5" fmla="*/ 0 h 2063502"/>
                <a:gd name="connsiteX6" fmla="*/ 1647438 w 2064425"/>
                <a:gd name="connsiteY6" fmla="*/ 12817 h 2063502"/>
                <a:gd name="connsiteX7" fmla="*/ 314152 w 2064425"/>
                <a:gd name="connsiteY7" fmla="*/ 12817 h 2063502"/>
                <a:gd name="connsiteX8" fmla="*/ 12823 w 2064425"/>
                <a:gd name="connsiteY8" fmla="*/ 314011 h 2063502"/>
                <a:gd name="connsiteX9" fmla="*/ 12823 w 2064425"/>
                <a:gd name="connsiteY9" fmla="*/ 1749491 h 2063502"/>
                <a:gd name="connsiteX10" fmla="*/ 314152 w 2064425"/>
                <a:gd name="connsiteY10" fmla="*/ 2050686 h 2063502"/>
                <a:gd name="connsiteX11" fmla="*/ 2051603 w 2064425"/>
                <a:gd name="connsiteY11" fmla="*/ 2050686 h 2063502"/>
                <a:gd name="connsiteX12" fmla="*/ 2051603 w 2064425"/>
                <a:gd name="connsiteY12" fmla="*/ 431413 h 2063502"/>
                <a:gd name="connsiteX13" fmla="*/ 2064426 w 2064425"/>
                <a:gd name="connsiteY13" fmla="*/ 431413 h 2063502"/>
                <a:gd name="connsiteX14" fmla="*/ 2064426 w 2064425"/>
                <a:gd name="connsiteY14" fmla="*/ 2063503 h 20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64425" h="2063502">
                  <a:moveTo>
                    <a:pt x="2064426" y="2063503"/>
                  </a:moveTo>
                  <a:lnTo>
                    <a:pt x="314152" y="2063503"/>
                  </a:lnTo>
                  <a:cubicBezTo>
                    <a:pt x="141048" y="2063503"/>
                    <a:pt x="0" y="1922518"/>
                    <a:pt x="0" y="1749491"/>
                  </a:cubicBezTo>
                  <a:lnTo>
                    <a:pt x="0" y="314011"/>
                  </a:lnTo>
                  <a:cubicBezTo>
                    <a:pt x="0" y="140985"/>
                    <a:pt x="141048" y="0"/>
                    <a:pt x="314152" y="0"/>
                  </a:cubicBezTo>
                  <a:lnTo>
                    <a:pt x="1647438" y="0"/>
                  </a:lnTo>
                  <a:lnTo>
                    <a:pt x="1647438" y="12817"/>
                  </a:lnTo>
                  <a:lnTo>
                    <a:pt x="314152" y="12817"/>
                  </a:lnTo>
                  <a:cubicBezTo>
                    <a:pt x="147972" y="12817"/>
                    <a:pt x="12823" y="147906"/>
                    <a:pt x="12823" y="314011"/>
                  </a:cubicBezTo>
                  <a:lnTo>
                    <a:pt x="12823" y="1749491"/>
                  </a:lnTo>
                  <a:cubicBezTo>
                    <a:pt x="12823" y="1915597"/>
                    <a:pt x="147972" y="2050686"/>
                    <a:pt x="314152" y="2050686"/>
                  </a:cubicBezTo>
                  <a:lnTo>
                    <a:pt x="2051603" y="2050686"/>
                  </a:lnTo>
                  <a:lnTo>
                    <a:pt x="2051603" y="431413"/>
                  </a:lnTo>
                  <a:lnTo>
                    <a:pt x="2064426" y="431413"/>
                  </a:lnTo>
                  <a:lnTo>
                    <a:pt x="2064426" y="2063503"/>
                  </a:lnTo>
                  <a:close/>
                </a:path>
              </a:pathLst>
            </a:custGeom>
            <a:grpFill/>
            <a:ln w="0"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524E4213-679F-A5AB-A8B4-F07C41020E2C}"/>
                </a:ext>
              </a:extLst>
            </p:cNvPr>
            <p:cNvSpPr>
              <a:spLocks noGrp="1" noRot="1" noMove="1" noResize="1" noEditPoints="1" noAdjustHandles="1" noChangeArrowheads="1" noChangeShapeType="1"/>
            </p:cNvSpPr>
            <p:nvPr/>
          </p:nvSpPr>
          <p:spPr>
            <a:xfrm>
              <a:off x="6396158" y="1344905"/>
              <a:ext cx="2064425" cy="2063502"/>
            </a:xfrm>
            <a:custGeom>
              <a:avLst/>
              <a:gdLst>
                <a:gd name="connsiteX0" fmla="*/ 1750274 w 2064425"/>
                <a:gd name="connsiteY0" fmla="*/ 2063503 h 2063502"/>
                <a:gd name="connsiteX1" fmla="*/ 314152 w 2064425"/>
                <a:gd name="connsiteY1" fmla="*/ 2063503 h 2063502"/>
                <a:gd name="connsiteX2" fmla="*/ 0 w 2064425"/>
                <a:gd name="connsiteY2" fmla="*/ 1749491 h 2063502"/>
                <a:gd name="connsiteX3" fmla="*/ 0 w 2064425"/>
                <a:gd name="connsiteY3" fmla="*/ 314011 h 2063502"/>
                <a:gd name="connsiteX4" fmla="*/ 314152 w 2064425"/>
                <a:gd name="connsiteY4" fmla="*/ 0 h 2063502"/>
                <a:gd name="connsiteX5" fmla="*/ 2064426 w 2064425"/>
                <a:gd name="connsiteY5" fmla="*/ 0 h 2063502"/>
                <a:gd name="connsiteX6" fmla="*/ 2064426 w 2064425"/>
                <a:gd name="connsiteY6" fmla="*/ 1749491 h 2063502"/>
                <a:gd name="connsiteX7" fmla="*/ 1750274 w 2064425"/>
                <a:gd name="connsiteY7" fmla="*/ 2063503 h 2063502"/>
                <a:gd name="connsiteX8" fmla="*/ 314152 w 2064425"/>
                <a:gd name="connsiteY8" fmla="*/ 12817 h 2063502"/>
                <a:gd name="connsiteX9" fmla="*/ 12823 w 2064425"/>
                <a:gd name="connsiteY9" fmla="*/ 314011 h 2063502"/>
                <a:gd name="connsiteX10" fmla="*/ 12823 w 2064425"/>
                <a:gd name="connsiteY10" fmla="*/ 1749491 h 2063502"/>
                <a:gd name="connsiteX11" fmla="*/ 314152 w 2064425"/>
                <a:gd name="connsiteY11" fmla="*/ 2050686 h 2063502"/>
                <a:gd name="connsiteX12" fmla="*/ 1750274 w 2064425"/>
                <a:gd name="connsiteY12" fmla="*/ 2050686 h 2063502"/>
                <a:gd name="connsiteX13" fmla="*/ 2051603 w 2064425"/>
                <a:gd name="connsiteY13" fmla="*/ 1749491 h 2063502"/>
                <a:gd name="connsiteX14" fmla="*/ 2051603 w 2064425"/>
                <a:gd name="connsiteY14" fmla="*/ 12817 h 2063502"/>
                <a:gd name="connsiteX15" fmla="*/ 314152 w 2064425"/>
                <a:gd name="connsiteY15" fmla="*/ 12817 h 20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4425" h="2063502">
                  <a:moveTo>
                    <a:pt x="1750274" y="2063503"/>
                  </a:moveTo>
                  <a:lnTo>
                    <a:pt x="314152" y="2063503"/>
                  </a:lnTo>
                  <a:cubicBezTo>
                    <a:pt x="141048" y="2063503"/>
                    <a:pt x="0" y="1922518"/>
                    <a:pt x="0" y="1749491"/>
                  </a:cubicBezTo>
                  <a:lnTo>
                    <a:pt x="0" y="314011"/>
                  </a:lnTo>
                  <a:cubicBezTo>
                    <a:pt x="0" y="140985"/>
                    <a:pt x="141048" y="0"/>
                    <a:pt x="314152" y="0"/>
                  </a:cubicBezTo>
                  <a:lnTo>
                    <a:pt x="2064426" y="0"/>
                  </a:lnTo>
                  <a:lnTo>
                    <a:pt x="2064426" y="1749491"/>
                  </a:lnTo>
                  <a:cubicBezTo>
                    <a:pt x="2064426" y="1922518"/>
                    <a:pt x="1923378" y="2063503"/>
                    <a:pt x="1750274" y="2063503"/>
                  </a:cubicBezTo>
                  <a:close/>
                  <a:moveTo>
                    <a:pt x="314152" y="12817"/>
                  </a:moveTo>
                  <a:cubicBezTo>
                    <a:pt x="147972" y="12817"/>
                    <a:pt x="12823" y="147906"/>
                    <a:pt x="12823" y="314011"/>
                  </a:cubicBezTo>
                  <a:lnTo>
                    <a:pt x="12823" y="1749491"/>
                  </a:lnTo>
                  <a:cubicBezTo>
                    <a:pt x="12823" y="1915597"/>
                    <a:pt x="147972" y="2050686"/>
                    <a:pt x="314152" y="2050686"/>
                  </a:cubicBezTo>
                  <a:lnTo>
                    <a:pt x="1750274" y="2050686"/>
                  </a:lnTo>
                  <a:cubicBezTo>
                    <a:pt x="1916454" y="2050686"/>
                    <a:pt x="2051603" y="1915597"/>
                    <a:pt x="2051603" y="1749491"/>
                  </a:cubicBezTo>
                  <a:lnTo>
                    <a:pt x="2051603" y="12817"/>
                  </a:lnTo>
                  <a:lnTo>
                    <a:pt x="314152" y="12817"/>
                  </a:lnTo>
                  <a:close/>
                </a:path>
              </a:pathLst>
            </a:custGeom>
            <a:grpFill/>
            <a:ln w="0" cap="flat">
              <a:noFill/>
              <a:prstDash val="solid"/>
              <a:miter/>
            </a:ln>
          </p:spPr>
          <p:txBody>
            <a:bodyPr rtlCol="0" anchor="ctr"/>
            <a:lstStyle/>
            <a:p>
              <a:endParaRPr lang="en-US"/>
            </a:p>
          </p:txBody>
        </p:sp>
        <p:sp>
          <p:nvSpPr>
            <p:cNvPr id="15" name="Freeform 61">
              <a:extLst>
                <a:ext uri="{FF2B5EF4-FFF2-40B4-BE49-F238E27FC236}">
                  <a16:creationId xmlns:a16="http://schemas.microsoft.com/office/drawing/2014/main" id="{2BD075AE-1EF0-FEAC-627C-1B8737DA5C0B}"/>
                </a:ext>
              </a:extLst>
            </p:cNvPr>
            <p:cNvSpPr>
              <a:spLocks noGrp="1" noRot="1" noMove="1" noResize="1" noEditPoints="1" noAdjustHandles="1" noChangeArrowheads="1" noChangeShapeType="1"/>
            </p:cNvSpPr>
            <p:nvPr/>
          </p:nvSpPr>
          <p:spPr>
            <a:xfrm>
              <a:off x="8447760" y="75416"/>
              <a:ext cx="2064426" cy="1282307"/>
            </a:xfrm>
            <a:custGeom>
              <a:avLst/>
              <a:gdLst>
                <a:gd name="connsiteX0" fmla="*/ 0 w 2064426"/>
                <a:gd name="connsiteY0" fmla="*/ 0 h 1357723"/>
                <a:gd name="connsiteX1" fmla="*/ 12823 w 2064426"/>
                <a:gd name="connsiteY1" fmla="*/ 0 h 1357723"/>
                <a:gd name="connsiteX2" fmla="*/ 12823 w 2064426"/>
                <a:gd name="connsiteY2" fmla="*/ 1344906 h 1357723"/>
                <a:gd name="connsiteX3" fmla="*/ 2051603 w 2064426"/>
                <a:gd name="connsiteY3" fmla="*/ 1344906 h 1357723"/>
                <a:gd name="connsiteX4" fmla="*/ 2051603 w 2064426"/>
                <a:gd name="connsiteY4" fmla="*/ 0 h 1357723"/>
                <a:gd name="connsiteX5" fmla="*/ 2064426 w 2064426"/>
                <a:gd name="connsiteY5" fmla="*/ 0 h 1357723"/>
                <a:gd name="connsiteX6" fmla="*/ 2064426 w 2064426"/>
                <a:gd name="connsiteY6" fmla="*/ 1357723 h 1357723"/>
                <a:gd name="connsiteX7" fmla="*/ 0 w 2064426"/>
                <a:gd name="connsiteY7" fmla="*/ 1357723 h 13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4426" h="1357723">
                  <a:moveTo>
                    <a:pt x="0" y="0"/>
                  </a:moveTo>
                  <a:lnTo>
                    <a:pt x="12823" y="0"/>
                  </a:lnTo>
                  <a:lnTo>
                    <a:pt x="12823" y="1344906"/>
                  </a:lnTo>
                  <a:lnTo>
                    <a:pt x="2051603" y="1344906"/>
                  </a:lnTo>
                  <a:lnTo>
                    <a:pt x="2051603" y="0"/>
                  </a:lnTo>
                  <a:lnTo>
                    <a:pt x="2064426" y="0"/>
                  </a:lnTo>
                  <a:lnTo>
                    <a:pt x="2064426" y="1357723"/>
                  </a:lnTo>
                  <a:lnTo>
                    <a:pt x="0" y="1357723"/>
                  </a:lnTo>
                  <a:close/>
                </a:path>
              </a:pathLst>
            </a:custGeom>
            <a:grpFill/>
            <a:ln w="0" cap="flat">
              <a:noFill/>
              <a:prstDash val="solid"/>
              <a:miter/>
            </a:ln>
          </p:spPr>
          <p:txBody>
            <a:bodyPr rtlCol="0" anchor="ctr"/>
            <a:lstStyle/>
            <a:p>
              <a:endParaRPr lang="en-US"/>
            </a:p>
          </p:txBody>
        </p:sp>
        <p:sp>
          <p:nvSpPr>
            <p:cNvPr id="16" name="Freeform 56">
              <a:extLst>
                <a:ext uri="{FF2B5EF4-FFF2-40B4-BE49-F238E27FC236}">
                  <a16:creationId xmlns:a16="http://schemas.microsoft.com/office/drawing/2014/main" id="{DFECA281-80B2-B366-39D6-0CB0C6CB43A9}"/>
                </a:ext>
              </a:extLst>
            </p:cNvPr>
            <p:cNvSpPr>
              <a:spLocks noGrp="1" noRot="1" noMove="1" noResize="1" noEditPoints="1" noAdjustHandles="1" noChangeArrowheads="1" noChangeShapeType="1"/>
            </p:cNvSpPr>
            <p:nvPr/>
          </p:nvSpPr>
          <p:spPr>
            <a:xfrm>
              <a:off x="10300615" y="3196931"/>
              <a:ext cx="410320" cy="410137"/>
            </a:xfrm>
            <a:custGeom>
              <a:avLst/>
              <a:gdLst>
                <a:gd name="connsiteX0" fmla="*/ 410321 w 410320"/>
                <a:gd name="connsiteY0" fmla="*/ 157390 h 410137"/>
                <a:gd name="connsiteX1" fmla="*/ 252860 w 410320"/>
                <a:gd name="connsiteY1" fmla="*/ 157390 h 410137"/>
                <a:gd name="connsiteX2" fmla="*/ 252860 w 410320"/>
                <a:gd name="connsiteY2" fmla="*/ 0 h 410137"/>
                <a:gd name="connsiteX3" fmla="*/ 157461 w 410320"/>
                <a:gd name="connsiteY3" fmla="*/ 0 h 410137"/>
                <a:gd name="connsiteX4" fmla="*/ 157461 w 410320"/>
                <a:gd name="connsiteY4" fmla="*/ 157390 h 410137"/>
                <a:gd name="connsiteX5" fmla="*/ 0 w 410320"/>
                <a:gd name="connsiteY5" fmla="*/ 157390 h 410137"/>
                <a:gd name="connsiteX6" fmla="*/ 0 w 410320"/>
                <a:gd name="connsiteY6" fmla="*/ 252747 h 410137"/>
                <a:gd name="connsiteX7" fmla="*/ 157461 w 410320"/>
                <a:gd name="connsiteY7" fmla="*/ 252747 h 410137"/>
                <a:gd name="connsiteX8" fmla="*/ 157461 w 410320"/>
                <a:gd name="connsiteY8" fmla="*/ 410137 h 410137"/>
                <a:gd name="connsiteX9" fmla="*/ 252860 w 410320"/>
                <a:gd name="connsiteY9" fmla="*/ 410137 h 410137"/>
                <a:gd name="connsiteX10" fmla="*/ 252860 w 410320"/>
                <a:gd name="connsiteY10" fmla="*/ 252747 h 410137"/>
                <a:gd name="connsiteX11" fmla="*/ 410321 w 410320"/>
                <a:gd name="connsiteY11" fmla="*/ 252747 h 410137"/>
                <a:gd name="connsiteX12" fmla="*/ 410321 w 410320"/>
                <a:gd name="connsiteY12" fmla="*/ 157390 h 41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320" h="410137">
                  <a:moveTo>
                    <a:pt x="410321" y="157390"/>
                  </a:moveTo>
                  <a:lnTo>
                    <a:pt x="252860" y="157390"/>
                  </a:lnTo>
                  <a:lnTo>
                    <a:pt x="252860" y="0"/>
                  </a:lnTo>
                  <a:lnTo>
                    <a:pt x="157461" y="0"/>
                  </a:lnTo>
                  <a:lnTo>
                    <a:pt x="157461" y="157390"/>
                  </a:lnTo>
                  <a:lnTo>
                    <a:pt x="0" y="157390"/>
                  </a:lnTo>
                  <a:lnTo>
                    <a:pt x="0" y="252747"/>
                  </a:lnTo>
                  <a:lnTo>
                    <a:pt x="157461" y="252747"/>
                  </a:lnTo>
                  <a:lnTo>
                    <a:pt x="157461" y="410137"/>
                  </a:lnTo>
                  <a:lnTo>
                    <a:pt x="252860" y="410137"/>
                  </a:lnTo>
                  <a:lnTo>
                    <a:pt x="252860" y="252747"/>
                  </a:lnTo>
                  <a:lnTo>
                    <a:pt x="410321" y="252747"/>
                  </a:lnTo>
                  <a:lnTo>
                    <a:pt x="410321" y="157390"/>
                  </a:lnTo>
                  <a:close/>
                </a:path>
              </a:pathLst>
            </a:custGeom>
            <a:grpFill/>
            <a:ln w="0" cap="flat">
              <a:noFill/>
              <a:prstDash val="solid"/>
              <a:miter/>
            </a:ln>
          </p:spPr>
          <p:txBody>
            <a:bodyPr rtlCol="0" anchor="ctr"/>
            <a:lstStyle/>
            <a:p>
              <a:endParaRPr lang="en-US"/>
            </a:p>
          </p:txBody>
        </p:sp>
        <p:sp>
          <p:nvSpPr>
            <p:cNvPr id="17" name="Freeform 67">
              <a:extLst>
                <a:ext uri="{FF2B5EF4-FFF2-40B4-BE49-F238E27FC236}">
                  <a16:creationId xmlns:a16="http://schemas.microsoft.com/office/drawing/2014/main" id="{15E23DFE-D760-B790-7B2A-8A43A8E31786}"/>
                </a:ext>
              </a:extLst>
            </p:cNvPr>
            <p:cNvSpPr>
              <a:spLocks noGrp="1" noRot="1" noMove="1" noResize="1" noEditPoints="1" noAdjustHandles="1" noChangeArrowheads="1" noChangeShapeType="1"/>
            </p:cNvSpPr>
            <p:nvPr userDrawn="1"/>
          </p:nvSpPr>
          <p:spPr>
            <a:xfrm>
              <a:off x="10499364" y="1344906"/>
              <a:ext cx="1749198" cy="1646957"/>
            </a:xfrm>
            <a:custGeom>
              <a:avLst/>
              <a:gdLst>
                <a:gd name="connsiteX0" fmla="*/ 0 w 1692636"/>
                <a:gd name="connsiteY0" fmla="*/ 0 h 1646957"/>
                <a:gd name="connsiteX1" fmla="*/ 1692636 w 1692636"/>
                <a:gd name="connsiteY1" fmla="*/ 0 h 1646957"/>
                <a:gd name="connsiteX2" fmla="*/ 1692636 w 1692636"/>
                <a:gd name="connsiteY2" fmla="*/ 12817 h 1646957"/>
                <a:gd name="connsiteX3" fmla="*/ 12823 w 1692636"/>
                <a:gd name="connsiteY3" fmla="*/ 12817 h 1646957"/>
                <a:gd name="connsiteX4" fmla="*/ 12823 w 1692636"/>
                <a:gd name="connsiteY4" fmla="*/ 1646957 h 1646957"/>
                <a:gd name="connsiteX5" fmla="*/ 0 w 1692636"/>
                <a:gd name="connsiteY5" fmla="*/ 1646957 h 1646957"/>
                <a:gd name="connsiteX6" fmla="*/ 0 w 1692636"/>
                <a:gd name="connsiteY6" fmla="*/ 0 h 164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636" h="1646957">
                  <a:moveTo>
                    <a:pt x="0" y="0"/>
                  </a:moveTo>
                  <a:lnTo>
                    <a:pt x="1692636" y="0"/>
                  </a:lnTo>
                  <a:lnTo>
                    <a:pt x="1692636" y="12817"/>
                  </a:lnTo>
                  <a:lnTo>
                    <a:pt x="12823" y="12817"/>
                  </a:lnTo>
                  <a:lnTo>
                    <a:pt x="12823" y="1646957"/>
                  </a:lnTo>
                  <a:lnTo>
                    <a:pt x="0" y="1646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18" name="Freeform 65">
              <a:extLst>
                <a:ext uri="{FF2B5EF4-FFF2-40B4-BE49-F238E27FC236}">
                  <a16:creationId xmlns:a16="http://schemas.microsoft.com/office/drawing/2014/main" id="{BA417C09-F446-DD26-FBBA-5CD31B67C4D6}"/>
                </a:ext>
              </a:extLst>
            </p:cNvPr>
            <p:cNvSpPr>
              <a:spLocks noGrp="1" noRot="1" noMove="1" noResize="1" noEditPoints="1" noAdjustHandles="1" noChangeArrowheads="1" noChangeShapeType="1"/>
            </p:cNvSpPr>
            <p:nvPr userDrawn="1"/>
          </p:nvSpPr>
          <p:spPr>
            <a:xfrm>
              <a:off x="10916096" y="3395592"/>
              <a:ext cx="1332000" cy="12817"/>
            </a:xfrm>
            <a:custGeom>
              <a:avLst/>
              <a:gdLst>
                <a:gd name="connsiteX0" fmla="*/ 0 w 1275904"/>
                <a:gd name="connsiteY0" fmla="*/ 0 h 12817"/>
                <a:gd name="connsiteX1" fmla="*/ 1275904 w 1275904"/>
                <a:gd name="connsiteY1" fmla="*/ 0 h 12817"/>
                <a:gd name="connsiteX2" fmla="*/ 1275904 w 1275904"/>
                <a:gd name="connsiteY2" fmla="*/ 12817 h 12817"/>
                <a:gd name="connsiteX3" fmla="*/ 0 w 1275904"/>
                <a:gd name="connsiteY3" fmla="*/ 12817 h 12817"/>
                <a:gd name="connsiteX4" fmla="*/ 0 w 1275904"/>
                <a:gd name="connsiteY4" fmla="*/ 0 h 12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904" h="12817">
                  <a:moveTo>
                    <a:pt x="0" y="0"/>
                  </a:moveTo>
                  <a:lnTo>
                    <a:pt x="1275904" y="0"/>
                  </a:lnTo>
                  <a:lnTo>
                    <a:pt x="1275904" y="12817"/>
                  </a:lnTo>
                  <a:lnTo>
                    <a:pt x="0" y="1281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sp>
        <p:nvSpPr>
          <p:cNvPr id="2" name="Title 1"/>
          <p:cNvSpPr>
            <a:spLocks noGrp="1"/>
          </p:cNvSpPr>
          <p:nvPr>
            <p:ph type="ctrTitle" hasCustomPrompt="1"/>
          </p:nvPr>
        </p:nvSpPr>
        <p:spPr>
          <a:xfrm>
            <a:off x="360000" y="1450800"/>
            <a:ext cx="5648400" cy="1820862"/>
          </a:xfrm>
          <a:noFill/>
        </p:spPr>
        <p:txBody>
          <a:bodyPr anchor="b" anchorCtr="0"/>
          <a:lstStyle>
            <a:lvl1pPr algn="l">
              <a:lnSpc>
                <a:spcPct val="85000"/>
              </a:lnSpc>
              <a:defRPr sz="6000" b="0">
                <a:solidFill>
                  <a:schemeClr val="accent3"/>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a:xfrm>
            <a:off x="360000" y="3654000"/>
            <a:ext cx="5648400" cy="2094338"/>
          </a:xfrm>
        </p:spPr>
        <p:txBody>
          <a:bodyPr/>
          <a:lstStyle>
            <a:lvl1pPr marL="0" indent="0">
              <a:lnSpc>
                <a:spcPct val="105000"/>
              </a:lnSpc>
              <a:buNone/>
              <a:defRPr sz="2200">
                <a:solidFill>
                  <a:schemeClr val="accent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sp>
        <p:nvSpPr>
          <p:cNvPr id="4" name="Legal dynamic" descr="{&quot;templafy&quot;:{&quot;id&quot;:&quot;827e964c-626d-4f2f-83e2-bf614e895f3c&quot;}}" title="Form.Cigna_Confidentiality.EvernorthConfidentiality">
            <a:extLst>
              <a:ext uri="{FF2B5EF4-FFF2-40B4-BE49-F238E27FC236}">
                <a16:creationId xmlns:a16="http://schemas.microsoft.com/office/drawing/2014/main" id="{A40FA929-A86D-6A65-3A83-91B07FB23AEE}"/>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0" name="Internal Stamp dynamic" descr="{&quot;templafy&quot;:{&quot;id&quot;:&quot;fb92abec-c605-43c1-9d29-615ddd0a0149&quot;}}" title="Form.Cigna_Confidentiality.Cigna_confidentiality">
            <a:extLst>
              <a:ext uri="{FF2B5EF4-FFF2-40B4-BE49-F238E27FC236}">
                <a16:creationId xmlns:a16="http://schemas.microsoft.com/office/drawing/2014/main" id="{010F5112-E784-D77B-7456-0E7AC57591EC}"/>
              </a:ext>
            </a:extLst>
          </p:cNvPr>
          <p:cNvSpPr/>
          <p:nvPr userDrawn="1"/>
        </p:nvSpPr>
        <p:spPr>
          <a:xfrm>
            <a:off x="3277197"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9" name="Dynamic logo dark mint" descr="{&quot;templafy&quot;:{&quot;id&quot;:&quot;5af1d621-af42-47a2-b063-9ea6549deb8d&quot;}}">
            <a:extLst>
              <a:ext uri="{FF2B5EF4-FFF2-40B4-BE49-F238E27FC236}">
                <a16:creationId xmlns:a16="http://schemas.microsoft.com/office/drawing/2014/main" id="{21FFA508-54E2-B38F-0422-562D937DE3C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22" name="Slide Number Placeholder 21">
            <a:extLst>
              <a:ext uri="{FF2B5EF4-FFF2-40B4-BE49-F238E27FC236}">
                <a16:creationId xmlns:a16="http://schemas.microsoft.com/office/drawing/2014/main" id="{353473A6-FA79-6B67-7DF5-F90F43104381}"/>
              </a:ext>
            </a:extLst>
          </p:cNvPr>
          <p:cNvSpPr>
            <a:spLocks noGrp="1"/>
          </p:cNvSpPr>
          <p:nvPr>
            <p:ph type="sldNum" sz="quarter" idx="15"/>
          </p:nvPr>
        </p:nvSpPr>
        <p:spPr/>
        <p:txBody>
          <a:bodyPr/>
          <a:lstStyle/>
          <a:p>
            <a:fld id="{23AA811B-2EBD-4900-905E-5BE206449611}" type="slidenum">
              <a:rPr lang="en-US" smtClean="0"/>
              <a:pPr/>
              <a:t>‹#›</a:t>
            </a:fld>
            <a:endParaRPr lang="en-US"/>
          </a:p>
        </p:txBody>
      </p:sp>
      <p:sp>
        <p:nvSpPr>
          <p:cNvPr id="5" name="Date Placeholder 4">
            <a:extLst>
              <a:ext uri="{FF2B5EF4-FFF2-40B4-BE49-F238E27FC236}">
                <a16:creationId xmlns:a16="http://schemas.microsoft.com/office/drawing/2014/main" id="{6FCE309C-8425-F262-20C0-0A975B2153F0}"/>
              </a:ext>
            </a:extLst>
          </p:cNvPr>
          <p:cNvSpPr>
            <a:spLocks noGrp="1"/>
          </p:cNvSpPr>
          <p:nvPr>
            <p:ph type="dt" sz="half" idx="16"/>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548746969"/>
      </p:ext>
    </p:extLst>
  </p:cSld>
  <p:clrMapOvr>
    <a:masterClrMapping/>
  </p:clrMapOvr>
  <p:extLst>
    <p:ext uri="{DCECCB84-F9BA-43D5-87BE-67443E8EF086}">
      <p15:sldGuideLst xmlns:p15="http://schemas.microsoft.com/office/powerpoint/2012/main">
        <p15:guide id="1" orient="horz" pos="2302">
          <p15:clr>
            <a:srgbClr val="F26B43"/>
          </p15:clr>
        </p15:guide>
        <p15:guide id="2" orient="horz" pos="2064">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 Breaker">
    <p:bg>
      <p:bgPr>
        <a:solidFill>
          <a:schemeClr val="bg2"/>
        </a:solidFill>
        <a:effectLst/>
      </p:bgPr>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3" name="Group 2">
            <a:extLst>
              <a:ext uri="{FF2B5EF4-FFF2-40B4-BE49-F238E27FC236}">
                <a16:creationId xmlns:a16="http://schemas.microsoft.com/office/drawing/2014/main" id="{8FDE4B12-DCE7-235F-C811-7E2C9E2899BB}"/>
              </a:ext>
            </a:extLst>
          </p:cNvPr>
          <p:cNvGrpSpPr>
            <a:grpSpLocks noGrp="1" noUngrp="1" noRot="1" noMove="1" noResize="1"/>
          </p:cNvGrpSpPr>
          <p:nvPr userDrawn="1"/>
        </p:nvGrpSpPr>
        <p:grpSpPr>
          <a:xfrm>
            <a:off x="6234988" y="0"/>
            <a:ext cx="5957012" cy="6097377"/>
            <a:chOff x="6234988" y="0"/>
            <a:chExt cx="5957012" cy="6097377"/>
          </a:xfrm>
          <a:solidFill>
            <a:srgbClr val="008F83"/>
          </a:solidFill>
        </p:grpSpPr>
        <p:sp>
          <p:nvSpPr>
            <p:cNvPr id="4" name="Freeform: Shape 3">
              <a:extLst>
                <a:ext uri="{FF2B5EF4-FFF2-40B4-BE49-F238E27FC236}">
                  <a16:creationId xmlns:a16="http://schemas.microsoft.com/office/drawing/2014/main" id="{4EC64AEE-4D21-6CD3-F866-0AD999AD89FE}"/>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grpFill/>
            <a:ln w="0"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2D9B6CFB-55C1-F1A6-E382-0FDA7B2556AE}"/>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grp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75D8C32C-9AB4-4CEE-825C-C74C055B9E88}"/>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grpFill/>
            <a:ln w="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0F20D3DE-D3EB-65EE-37C2-651AB44F0AAB}"/>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grp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600" y="3070800"/>
            <a:ext cx="6505200" cy="720000"/>
          </a:xfrm>
        </p:spPr>
        <p:txBody>
          <a:bodyPr lIns="0" tIns="0" rIns="0" bIns="0" anchor="ctr" anchorCtr="0"/>
          <a:lstStyle>
            <a:lvl1pPr algn="l">
              <a:lnSpc>
                <a:spcPct val="82000"/>
              </a:lnSpc>
              <a:defRPr sz="5000" b="0" cap="none" baseline="0">
                <a:solidFill>
                  <a:srgbClr val="035C67"/>
                </a:solidFill>
              </a:defRPr>
            </a:lvl1pPr>
          </a:lstStyle>
          <a:p>
            <a:r>
              <a:rPr lang="en-US" noProof="0"/>
              <a:t>Click to add title</a:t>
            </a:r>
            <a:endParaRPr lang="en-US"/>
          </a:p>
        </p:txBody>
      </p:sp>
      <p:sp>
        <p:nvSpPr>
          <p:cNvPr id="12" name="Legal dynamic" descr="{&quot;templafy&quot;:{&quot;id&quot;:&quot;7268f1a2-1a44-4a9c-bd57-0adc91bb9882&quot;}}" title="Form.Cigna_Confidentiality.EvernorthConfidentiality">
            <a:extLst>
              <a:ext uri="{FF2B5EF4-FFF2-40B4-BE49-F238E27FC236}">
                <a16:creationId xmlns:a16="http://schemas.microsoft.com/office/drawing/2014/main" id="{277B4946-98FA-1029-C301-F518F400A71D}"/>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3" name="Internal Stamp dynamic" descr="{&quot;templafy&quot;:{&quot;id&quot;:&quot;727cfec3-1dff-4c11-ac0e-720d405cd01b&quot;}}" title="Form.Cigna_Confidentiality.Cigna_confidentiality">
            <a:extLst>
              <a:ext uri="{FF2B5EF4-FFF2-40B4-BE49-F238E27FC236}">
                <a16:creationId xmlns:a16="http://schemas.microsoft.com/office/drawing/2014/main" id="{A412EB88-9FB0-5430-3BF6-0C6E3810143A}"/>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14" name="Dynamic logo dark mint" descr="{&quot;templafy&quot;:{&quot;id&quot;:&quot;d8fdd815-3324-470e-a9b9-2b05e09d2ab0&quot;}}">
            <a:extLst>
              <a:ext uri="{FF2B5EF4-FFF2-40B4-BE49-F238E27FC236}">
                <a16:creationId xmlns:a16="http://schemas.microsoft.com/office/drawing/2014/main" id="{AD78EA1F-54F6-4BC6-5282-AF4D567D5737}"/>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EF8FB97B-38E3-B5BD-794A-2E21A47C9FB9}"/>
              </a:ext>
            </a:extLst>
          </p:cNvPr>
          <p:cNvSpPr>
            <a:spLocks noGrp="1"/>
          </p:cNvSpPr>
          <p:nvPr>
            <p:ph type="dt" sz="half" idx="13"/>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62153815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1. Breaker">
    <p:bg>
      <p:bgPr>
        <a:solidFill>
          <a:schemeClr val="bg2"/>
        </a:solidFill>
        <a:effectLst/>
      </p:bgPr>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4" name="Group 3">
            <a:extLst>
              <a:ext uri="{FF2B5EF4-FFF2-40B4-BE49-F238E27FC236}">
                <a16:creationId xmlns:a16="http://schemas.microsoft.com/office/drawing/2014/main" id="{5EF3B1CC-2D90-3ADB-7465-C8E23C317EA7}"/>
              </a:ext>
            </a:extLst>
          </p:cNvPr>
          <p:cNvGrpSpPr>
            <a:grpSpLocks noGrp="1" noUngrp="1" noRot="1" noMove="1" noResize="1"/>
          </p:cNvGrpSpPr>
          <p:nvPr userDrawn="1"/>
        </p:nvGrpSpPr>
        <p:grpSpPr>
          <a:xfrm>
            <a:off x="6234988" y="0"/>
            <a:ext cx="5957012" cy="6097377"/>
            <a:chOff x="6234988" y="0"/>
            <a:chExt cx="5957012" cy="6097377"/>
          </a:xfrm>
          <a:solidFill>
            <a:srgbClr val="035C67"/>
          </a:solidFill>
        </p:grpSpPr>
        <p:sp>
          <p:nvSpPr>
            <p:cNvPr id="5" name="Freeform: Shape 4">
              <a:extLst>
                <a:ext uri="{FF2B5EF4-FFF2-40B4-BE49-F238E27FC236}">
                  <a16:creationId xmlns:a16="http://schemas.microsoft.com/office/drawing/2014/main" id="{7DA64C85-477F-121B-B483-C6541987E0C0}"/>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grp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C8133FB7-882E-C08F-2E5F-4B222A2330B1}"/>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grpFill/>
            <a:ln w="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7F6158F4-CFD2-4F3F-1695-3381ED3A3125}"/>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grpFill/>
            <a:ln w="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CBD060A1-2A4A-4B3B-4BD4-AF331E8BB854}"/>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grp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600" y="3070800"/>
            <a:ext cx="6505200" cy="720000"/>
          </a:xfrm>
        </p:spPr>
        <p:txBody>
          <a:bodyPr lIns="0" tIns="0" rIns="0" bIns="0" anchor="ctr" anchorCtr="0"/>
          <a:lstStyle>
            <a:lvl1pPr algn="l">
              <a:lnSpc>
                <a:spcPct val="82000"/>
              </a:lnSpc>
              <a:defRPr sz="5000" b="0" cap="none" baseline="0">
                <a:solidFill>
                  <a:srgbClr val="035C67"/>
                </a:solidFill>
              </a:defRPr>
            </a:lvl1pPr>
          </a:lstStyle>
          <a:p>
            <a:r>
              <a:rPr lang="en-US" noProof="0"/>
              <a:t>Click to add title</a:t>
            </a:r>
            <a:endParaRPr lang="en-US"/>
          </a:p>
        </p:txBody>
      </p:sp>
      <p:sp>
        <p:nvSpPr>
          <p:cNvPr id="12" name="Legal dynamic" descr="{&quot;templafy&quot;:{&quot;id&quot;:&quot;716e08ec-7d1a-49ee-99f4-fd720ab9fdb1&quot;}}" title="Form.Cigna_Confidentiality.EvernorthConfidentiality">
            <a:extLst>
              <a:ext uri="{FF2B5EF4-FFF2-40B4-BE49-F238E27FC236}">
                <a16:creationId xmlns:a16="http://schemas.microsoft.com/office/drawing/2014/main" id="{277B4946-98FA-1029-C301-F518F400A71D}"/>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3" name="Internal Stamp dynamic" descr="{&quot;templafy&quot;:{&quot;id&quot;:&quot;a52e7de7-5977-40e0-ba1f-a71f5b68479d&quot;}}" title="Form.Cigna_Confidentiality.Cigna_confidentiality">
            <a:extLst>
              <a:ext uri="{FF2B5EF4-FFF2-40B4-BE49-F238E27FC236}">
                <a16:creationId xmlns:a16="http://schemas.microsoft.com/office/drawing/2014/main" id="{A412EB88-9FB0-5430-3BF6-0C6E3810143A}"/>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dark mint" descr="{&quot;templafy&quot;:{&quot;id&quot;:&quot;a555e14e-78be-4391-b002-ae4cd8c503f9&quot;}}">
            <a:extLst>
              <a:ext uri="{FF2B5EF4-FFF2-40B4-BE49-F238E27FC236}">
                <a16:creationId xmlns:a16="http://schemas.microsoft.com/office/drawing/2014/main" id="{96863728-855F-FB55-379D-DB9BFD490E5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806AA2FA-4B82-2706-1156-221323214F9A}"/>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34079579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2. Breaker">
    <p:bg>
      <p:bgPr>
        <a:solidFill>
          <a:schemeClr val="bg2"/>
        </a:solidFill>
        <a:effectLst/>
      </p:bgPr>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4" name="Group 3">
            <a:extLst>
              <a:ext uri="{FF2B5EF4-FFF2-40B4-BE49-F238E27FC236}">
                <a16:creationId xmlns:a16="http://schemas.microsoft.com/office/drawing/2014/main" id="{139AB019-BAEB-4FEB-2F55-1C336F9A4A4A}"/>
              </a:ext>
            </a:extLst>
          </p:cNvPr>
          <p:cNvGrpSpPr>
            <a:grpSpLocks noGrp="1" noUngrp="1" noRot="1" noMove="1" noResize="1"/>
          </p:cNvGrpSpPr>
          <p:nvPr userDrawn="1"/>
        </p:nvGrpSpPr>
        <p:grpSpPr>
          <a:xfrm>
            <a:off x="6234988" y="0"/>
            <a:ext cx="5957012" cy="6097377"/>
            <a:chOff x="6234988" y="0"/>
            <a:chExt cx="5957012" cy="6097377"/>
          </a:xfrm>
          <a:solidFill>
            <a:srgbClr val="90B9FF"/>
          </a:solidFill>
        </p:grpSpPr>
        <p:sp>
          <p:nvSpPr>
            <p:cNvPr id="5" name="Freeform: Shape 4">
              <a:extLst>
                <a:ext uri="{FF2B5EF4-FFF2-40B4-BE49-F238E27FC236}">
                  <a16:creationId xmlns:a16="http://schemas.microsoft.com/office/drawing/2014/main" id="{3F74397A-4392-9DE2-BF1D-D5F7F87D6178}"/>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grp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27004986-DDB0-4BBE-0FB4-6B93A6068FF1}"/>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grpFill/>
            <a:ln w="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7B83E75C-9F74-CDD1-71D7-764F1FD61903}"/>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grpFill/>
            <a:ln w="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4B7FFBE-16CD-855E-5E29-2FB73A27C966}"/>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grp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600" y="3070800"/>
            <a:ext cx="6505200" cy="720000"/>
          </a:xfrm>
        </p:spPr>
        <p:txBody>
          <a:bodyPr lIns="0" tIns="0" rIns="0" bIns="0" anchor="ctr" anchorCtr="0"/>
          <a:lstStyle>
            <a:lvl1pPr algn="l">
              <a:lnSpc>
                <a:spcPct val="82000"/>
              </a:lnSpc>
              <a:defRPr sz="5000" b="0" cap="none" baseline="0">
                <a:solidFill>
                  <a:srgbClr val="035C67"/>
                </a:solidFill>
              </a:defRPr>
            </a:lvl1pPr>
          </a:lstStyle>
          <a:p>
            <a:r>
              <a:rPr lang="en-US" noProof="0"/>
              <a:t>Click to add title</a:t>
            </a:r>
            <a:endParaRPr lang="en-US"/>
          </a:p>
        </p:txBody>
      </p:sp>
      <p:sp>
        <p:nvSpPr>
          <p:cNvPr id="12" name="Legal dynamic" descr="{&quot;templafy&quot;:{&quot;id&quot;:&quot;1c02084a-0d6c-449c-90d4-bd5a26d33c02&quot;}}" title="Form.Cigna_Confidentiality.EvernorthConfidentiality">
            <a:extLst>
              <a:ext uri="{FF2B5EF4-FFF2-40B4-BE49-F238E27FC236}">
                <a16:creationId xmlns:a16="http://schemas.microsoft.com/office/drawing/2014/main" id="{277B4946-98FA-1029-C301-F518F400A71D}"/>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3" name="Internal Stamp dynamic" descr="{&quot;templafy&quot;:{&quot;id&quot;:&quot;fd6f1276-4d76-4cc0-b131-40546ea70f83&quot;}}" title="Form.Cigna_Confidentiality.Cigna_confidentiality">
            <a:extLst>
              <a:ext uri="{FF2B5EF4-FFF2-40B4-BE49-F238E27FC236}">
                <a16:creationId xmlns:a16="http://schemas.microsoft.com/office/drawing/2014/main" id="{A412EB88-9FB0-5430-3BF6-0C6E3810143A}"/>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dark mint" descr="{&quot;templafy&quot;:{&quot;id&quot;:&quot;46e62879-ee12-48a8-972f-22d36c9d99d7&quot;}}">
            <a:extLst>
              <a:ext uri="{FF2B5EF4-FFF2-40B4-BE49-F238E27FC236}">
                <a16:creationId xmlns:a16="http://schemas.microsoft.com/office/drawing/2014/main" id="{F353BDF0-418D-87F5-D3BF-194FAB8B3BD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570FD55E-B3C2-D182-7BB9-9A7F5B25C0F1}"/>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86338611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3. Breaker">
    <p:bg>
      <p:bgPr>
        <a:solidFill>
          <a:schemeClr val="bg2"/>
        </a:solidFill>
        <a:effectLst/>
      </p:bgPr>
    </p:bg>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421834BF-B68E-E086-ABFE-13FA7FD16925}"/>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4" name="Group 3">
            <a:extLst>
              <a:ext uri="{FF2B5EF4-FFF2-40B4-BE49-F238E27FC236}">
                <a16:creationId xmlns:a16="http://schemas.microsoft.com/office/drawing/2014/main" id="{330C39CF-C472-D74B-0F58-8F6C5F7FEE8D}"/>
              </a:ext>
            </a:extLst>
          </p:cNvPr>
          <p:cNvGrpSpPr>
            <a:grpSpLocks noGrp="1" noUngrp="1" noRot="1" noMove="1" noResize="1"/>
          </p:cNvGrpSpPr>
          <p:nvPr userDrawn="1"/>
        </p:nvGrpSpPr>
        <p:grpSpPr>
          <a:xfrm>
            <a:off x="6234988" y="0"/>
            <a:ext cx="5957012" cy="6097377"/>
            <a:chOff x="6234988" y="0"/>
            <a:chExt cx="5957012" cy="6097377"/>
          </a:xfrm>
          <a:solidFill>
            <a:srgbClr val="E88789"/>
          </a:solidFill>
        </p:grpSpPr>
        <p:sp>
          <p:nvSpPr>
            <p:cNvPr id="5" name="Freeform: Shape 4">
              <a:extLst>
                <a:ext uri="{FF2B5EF4-FFF2-40B4-BE49-F238E27FC236}">
                  <a16:creationId xmlns:a16="http://schemas.microsoft.com/office/drawing/2014/main" id="{9C81FA7D-00E3-A5D6-D993-ECB1D670E383}"/>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grp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E5994075-1A4B-0336-2C0B-EE27ED5C6012}"/>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grpFill/>
            <a:ln w="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3653C0AD-2795-E40A-0C3A-CA7E2044E82B}"/>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grpFill/>
            <a:ln w="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1242F7AA-9336-43CC-1111-82BC6EF8D4DF}"/>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grp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600" y="3070800"/>
            <a:ext cx="6505200" cy="720000"/>
          </a:xfrm>
        </p:spPr>
        <p:txBody>
          <a:bodyPr lIns="0" tIns="0" rIns="0" bIns="0" anchor="ctr" anchorCtr="0"/>
          <a:lstStyle>
            <a:lvl1pPr algn="l">
              <a:lnSpc>
                <a:spcPct val="82000"/>
              </a:lnSpc>
              <a:defRPr sz="5000" b="0" cap="none" baseline="0">
                <a:solidFill>
                  <a:srgbClr val="035C67"/>
                </a:solidFill>
              </a:defRPr>
            </a:lvl1pPr>
          </a:lstStyle>
          <a:p>
            <a:r>
              <a:rPr lang="en-US" noProof="0"/>
              <a:t>Click to add title</a:t>
            </a:r>
            <a:endParaRPr lang="en-US"/>
          </a:p>
        </p:txBody>
      </p:sp>
      <p:sp>
        <p:nvSpPr>
          <p:cNvPr id="12" name="Legal dynamic" descr="{&quot;templafy&quot;:{&quot;id&quot;:&quot;3eacf1fd-a2cf-4071-abe5-aa18c90c8d92&quot;}}" title="Form.Cigna_Confidentiality.EvernorthConfidentiality">
            <a:extLst>
              <a:ext uri="{FF2B5EF4-FFF2-40B4-BE49-F238E27FC236}">
                <a16:creationId xmlns:a16="http://schemas.microsoft.com/office/drawing/2014/main" id="{277B4946-98FA-1029-C301-F518F400A71D}"/>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3" name="Internal Stamp dynamic" descr="{&quot;templafy&quot;:{&quot;id&quot;:&quot;a2bc73da-ca64-4438-8e2f-7d34c922c708&quot;}}" title="Form.Cigna_Confidentiality.Cigna_confidentiality">
            <a:extLst>
              <a:ext uri="{FF2B5EF4-FFF2-40B4-BE49-F238E27FC236}">
                <a16:creationId xmlns:a16="http://schemas.microsoft.com/office/drawing/2014/main" id="{A412EB88-9FB0-5430-3BF6-0C6E3810143A}"/>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7" name="Dynamic logo dark mint" descr="{&quot;templafy&quot;:{&quot;id&quot;:&quot;53a29d7d-3daa-478c-ad50-346516619423&quot;}}">
            <a:extLst>
              <a:ext uri="{FF2B5EF4-FFF2-40B4-BE49-F238E27FC236}">
                <a16:creationId xmlns:a16="http://schemas.microsoft.com/office/drawing/2014/main" id="{3F400E64-33A4-4DB9-176C-385C68BF52B9}"/>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B84A3D26-708A-8616-0158-D4A29EF93667}"/>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426009377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4. Breaker">
    <p:bg>
      <p:bgPr>
        <a:solidFill>
          <a:schemeClr val="bg2"/>
        </a:solidFill>
        <a:effectLst/>
      </p:bgPr>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6" name="Group 5">
            <a:extLst>
              <a:ext uri="{FF2B5EF4-FFF2-40B4-BE49-F238E27FC236}">
                <a16:creationId xmlns:a16="http://schemas.microsoft.com/office/drawing/2014/main" id="{4D39EDE9-41C3-8BDF-87B8-1DBEC874F59C}"/>
              </a:ext>
            </a:extLst>
          </p:cNvPr>
          <p:cNvGrpSpPr>
            <a:grpSpLocks noGrp="1" noUngrp="1" noRot="1" noMove="1" noResize="1"/>
          </p:cNvGrpSpPr>
          <p:nvPr userDrawn="1"/>
        </p:nvGrpSpPr>
        <p:grpSpPr>
          <a:xfrm>
            <a:off x="6234988" y="0"/>
            <a:ext cx="5957012" cy="6097377"/>
            <a:chOff x="6234988" y="0"/>
            <a:chExt cx="5957012" cy="6097377"/>
          </a:xfrm>
          <a:gradFill>
            <a:gsLst>
              <a:gs pos="100000">
                <a:srgbClr val="035C67"/>
              </a:gs>
              <a:gs pos="0">
                <a:schemeClr val="accent1"/>
              </a:gs>
            </a:gsLst>
            <a:path path="circle">
              <a:fillToRect r="100000" b="100000"/>
            </a:path>
          </a:gradFill>
        </p:grpSpPr>
        <p:sp>
          <p:nvSpPr>
            <p:cNvPr id="14" name="Freeform: Shape 13">
              <a:extLst>
                <a:ext uri="{FF2B5EF4-FFF2-40B4-BE49-F238E27FC236}">
                  <a16:creationId xmlns:a16="http://schemas.microsoft.com/office/drawing/2014/main" id="{D3C5C4C3-4D57-9D0D-2CCD-595B378F8151}"/>
                </a:ext>
              </a:extLst>
            </p:cNvPr>
            <p:cNvSpPr>
              <a:spLocks noGrp="1" noRot="1" noMove="1" noResize="1" noEditPoints="1" noAdjustHandles="1" noChangeArrowheads="1" noChangeShapeType="1"/>
            </p:cNvSpPr>
            <p:nvPr/>
          </p:nvSpPr>
          <p:spPr>
            <a:xfrm>
              <a:off x="6234988" y="0"/>
              <a:ext cx="1581285" cy="1418168"/>
            </a:xfrm>
            <a:custGeom>
              <a:avLst/>
              <a:gdLst>
                <a:gd name="connsiteX0" fmla="*/ 56528 w 1581285"/>
                <a:gd name="connsiteY0" fmla="*/ 0 h 1418168"/>
                <a:gd name="connsiteX1" fmla="*/ 1581285 w 1581285"/>
                <a:gd name="connsiteY1" fmla="*/ 0 h 1418168"/>
                <a:gd name="connsiteX2" fmla="*/ 1570467 w 1581285"/>
                <a:gd name="connsiteY2" fmla="*/ 22262 h 1418168"/>
                <a:gd name="connsiteX3" fmla="*/ 1559751 w 1581285"/>
                <a:gd name="connsiteY3" fmla="*/ 92377 h 1418168"/>
                <a:gd name="connsiteX4" fmla="*/ 1559708 w 1581285"/>
                <a:gd name="connsiteY4" fmla="*/ 92377 h 1418168"/>
                <a:gd name="connsiteX5" fmla="*/ 1559708 w 1581285"/>
                <a:gd name="connsiteY5" fmla="*/ 1106235 h 1418168"/>
                <a:gd name="connsiteX6" fmla="*/ 1247775 w 1581285"/>
                <a:gd name="connsiteY6" fmla="*/ 1418168 h 1418168"/>
                <a:gd name="connsiteX7" fmla="*/ 311933 w 1581285"/>
                <a:gd name="connsiteY7" fmla="*/ 1418168 h 1418168"/>
                <a:gd name="connsiteX8" fmla="*/ 0 w 1581285"/>
                <a:gd name="connsiteY8" fmla="*/ 1106235 h 1418168"/>
                <a:gd name="connsiteX9" fmla="*/ 0 w 1581285"/>
                <a:gd name="connsiteY9" fmla="*/ 170393 h 1418168"/>
                <a:gd name="connsiteX10" fmla="*/ 21625 w 1581285"/>
                <a:gd name="connsiteY10" fmla="*/ 56023 h 14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285" h="1418168">
                  <a:moveTo>
                    <a:pt x="56528" y="0"/>
                  </a:moveTo>
                  <a:lnTo>
                    <a:pt x="1581285" y="0"/>
                  </a:lnTo>
                  <a:lnTo>
                    <a:pt x="1570467" y="22262"/>
                  </a:lnTo>
                  <a:cubicBezTo>
                    <a:pt x="1563508" y="44393"/>
                    <a:pt x="1559751" y="67944"/>
                    <a:pt x="1559751" y="92377"/>
                  </a:cubicBezTo>
                  <a:lnTo>
                    <a:pt x="1559708" y="92377"/>
                  </a:lnTo>
                  <a:lnTo>
                    <a:pt x="1559708" y="1106235"/>
                  </a:lnTo>
                  <a:cubicBezTo>
                    <a:pt x="1559708" y="1307344"/>
                    <a:pt x="1385766" y="1418168"/>
                    <a:pt x="1247775" y="1418168"/>
                  </a:cubicBezTo>
                  <a:lnTo>
                    <a:pt x="311933" y="1418168"/>
                  </a:lnTo>
                  <a:cubicBezTo>
                    <a:pt x="139670" y="1418168"/>
                    <a:pt x="0" y="1278541"/>
                    <a:pt x="0" y="1106235"/>
                  </a:cubicBezTo>
                  <a:lnTo>
                    <a:pt x="0" y="170393"/>
                  </a:lnTo>
                  <a:cubicBezTo>
                    <a:pt x="0" y="130008"/>
                    <a:pt x="7664" y="91430"/>
                    <a:pt x="21625" y="56023"/>
                  </a:cubicBezTo>
                  <a:close/>
                </a:path>
              </a:pathLst>
            </a:custGeom>
            <a:grpFill/>
            <a:ln w="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54EC4A8-1236-B1FE-3070-3A0E1B093699}"/>
                </a:ext>
              </a:extLst>
            </p:cNvPr>
            <p:cNvSpPr>
              <a:spLocks noGrp="1" noRot="1" noMove="1" noResize="1" noEditPoints="1" noAdjustHandles="1" noChangeArrowheads="1" noChangeShapeType="1"/>
            </p:cNvSpPr>
            <p:nvPr/>
          </p:nvSpPr>
          <p:spPr>
            <a:xfrm>
              <a:off x="7794696" y="1"/>
              <a:ext cx="3119546" cy="2977919"/>
            </a:xfrm>
            <a:custGeom>
              <a:avLst/>
              <a:gdLst>
                <a:gd name="connsiteX0" fmla="*/ 1616286 w 3119546"/>
                <a:gd name="connsiteY0" fmla="*/ 0 h 2977919"/>
                <a:gd name="connsiteX1" fmla="*/ 3063015 w 3119546"/>
                <a:gd name="connsiteY1" fmla="*/ 0 h 2977919"/>
                <a:gd name="connsiteX2" fmla="*/ 3097922 w 3119546"/>
                <a:gd name="connsiteY2" fmla="*/ 56039 h 2977919"/>
                <a:gd name="connsiteX3" fmla="*/ 3119546 w 3119546"/>
                <a:gd name="connsiteY3" fmla="*/ 170393 h 2977919"/>
                <a:gd name="connsiteX4" fmla="*/ 3119546 w 3119546"/>
                <a:gd name="connsiteY4" fmla="*/ 1106235 h 2977919"/>
                <a:gd name="connsiteX5" fmla="*/ 2807613 w 3119546"/>
                <a:gd name="connsiteY5" fmla="*/ 1418168 h 2977919"/>
                <a:gd name="connsiteX6" fmla="*/ 1793755 w 3119546"/>
                <a:gd name="connsiteY6" fmla="*/ 1418168 h 2977919"/>
                <a:gd name="connsiteX7" fmla="*/ 1559794 w 3119546"/>
                <a:gd name="connsiteY7" fmla="*/ 1652128 h 2977919"/>
                <a:gd name="connsiteX8" fmla="*/ 1559708 w 3119546"/>
                <a:gd name="connsiteY8" fmla="*/ 1652128 h 2977919"/>
                <a:gd name="connsiteX9" fmla="*/ 1559708 w 3119546"/>
                <a:gd name="connsiteY9" fmla="*/ 2665986 h 2977919"/>
                <a:gd name="connsiteX10" fmla="*/ 1247775 w 3119546"/>
                <a:gd name="connsiteY10" fmla="*/ 2977919 h 2977919"/>
                <a:gd name="connsiteX11" fmla="*/ 311933 w 3119546"/>
                <a:gd name="connsiteY11" fmla="*/ 2977919 h 2977919"/>
                <a:gd name="connsiteX12" fmla="*/ 0 w 3119546"/>
                <a:gd name="connsiteY12" fmla="*/ 2665986 h 2977919"/>
                <a:gd name="connsiteX13" fmla="*/ 0 w 3119546"/>
                <a:gd name="connsiteY13" fmla="*/ 1730144 h 2977919"/>
                <a:gd name="connsiteX14" fmla="*/ 311933 w 3119546"/>
                <a:gd name="connsiteY14" fmla="*/ 1418211 h 2977919"/>
                <a:gd name="connsiteX15" fmla="*/ 1325791 w 3119546"/>
                <a:gd name="connsiteY15" fmla="*/ 1418211 h 2977919"/>
                <a:gd name="connsiteX16" fmla="*/ 1559752 w 3119546"/>
                <a:gd name="connsiteY16" fmla="*/ 1184250 h 2977919"/>
                <a:gd name="connsiteX17" fmla="*/ 1559752 w 3119546"/>
                <a:gd name="connsiteY17" fmla="*/ 170393 h 2977919"/>
                <a:gd name="connsiteX18" fmla="*/ 1581392 w 3119546"/>
                <a:gd name="connsiteY18" fmla="*/ 56023 h 29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9546" h="2977919">
                  <a:moveTo>
                    <a:pt x="1616286" y="0"/>
                  </a:moveTo>
                  <a:lnTo>
                    <a:pt x="3063015" y="0"/>
                  </a:lnTo>
                  <a:lnTo>
                    <a:pt x="3097922" y="56039"/>
                  </a:lnTo>
                  <a:cubicBezTo>
                    <a:pt x="3111882" y="91452"/>
                    <a:pt x="3119546" y="130029"/>
                    <a:pt x="3119546" y="170393"/>
                  </a:cubicBezTo>
                  <a:lnTo>
                    <a:pt x="3119546" y="1106235"/>
                  </a:lnTo>
                  <a:cubicBezTo>
                    <a:pt x="3119546" y="1278497"/>
                    <a:pt x="2979919" y="1418168"/>
                    <a:pt x="2807613" y="1418168"/>
                  </a:cubicBezTo>
                  <a:lnTo>
                    <a:pt x="1793755" y="1418168"/>
                  </a:lnTo>
                  <a:cubicBezTo>
                    <a:pt x="1664547" y="1418168"/>
                    <a:pt x="1559794" y="1522920"/>
                    <a:pt x="1559794" y="1652128"/>
                  </a:cubicBezTo>
                  <a:lnTo>
                    <a:pt x="1559708" y="1652128"/>
                  </a:lnTo>
                  <a:lnTo>
                    <a:pt x="1559708" y="2665986"/>
                  </a:lnTo>
                  <a:cubicBezTo>
                    <a:pt x="1559708" y="2867095"/>
                    <a:pt x="1385766" y="2977919"/>
                    <a:pt x="1247775" y="2977919"/>
                  </a:cubicBezTo>
                  <a:lnTo>
                    <a:pt x="311933" y="2977919"/>
                  </a:lnTo>
                  <a:cubicBezTo>
                    <a:pt x="139670" y="2977919"/>
                    <a:pt x="0" y="2838292"/>
                    <a:pt x="0" y="2665986"/>
                  </a:cubicBezTo>
                  <a:lnTo>
                    <a:pt x="0" y="1730144"/>
                  </a:lnTo>
                  <a:cubicBezTo>
                    <a:pt x="0" y="1557881"/>
                    <a:pt x="139627" y="1418211"/>
                    <a:pt x="311933" y="1418211"/>
                  </a:cubicBezTo>
                  <a:lnTo>
                    <a:pt x="1325791" y="1418211"/>
                  </a:lnTo>
                  <a:cubicBezTo>
                    <a:pt x="1454999" y="1418211"/>
                    <a:pt x="1559752" y="1313458"/>
                    <a:pt x="1559752" y="1184250"/>
                  </a:cubicBezTo>
                  <a:lnTo>
                    <a:pt x="1559752" y="170393"/>
                  </a:lnTo>
                  <a:cubicBezTo>
                    <a:pt x="1559752" y="130008"/>
                    <a:pt x="1567426" y="91430"/>
                    <a:pt x="1581392" y="56023"/>
                  </a:cubicBezTo>
                  <a:close/>
                </a:path>
              </a:pathLst>
            </a:custGeom>
            <a:grpFill/>
            <a:ln w="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3AB779B-EC93-216D-8667-D37873E2CD98}"/>
                </a:ext>
              </a:extLst>
            </p:cNvPr>
            <p:cNvSpPr>
              <a:spLocks noGrp="1" noRot="1" noMove="1" noResize="1" noEditPoints="1" noAdjustHandles="1" noChangeArrowheads="1" noChangeShapeType="1"/>
            </p:cNvSpPr>
            <p:nvPr/>
          </p:nvSpPr>
          <p:spPr>
            <a:xfrm>
              <a:off x="9354533" y="1418124"/>
              <a:ext cx="2837466" cy="3119502"/>
            </a:xfrm>
            <a:custGeom>
              <a:avLst/>
              <a:gdLst>
                <a:gd name="connsiteX0" fmla="*/ 2807527 w 2837466"/>
                <a:gd name="connsiteY0" fmla="*/ 0 h 3119502"/>
                <a:gd name="connsiteX1" fmla="*/ 2837466 w 2837466"/>
                <a:gd name="connsiteY1" fmla="*/ 4144 h 3119502"/>
                <a:gd name="connsiteX2" fmla="*/ 2837466 w 2837466"/>
                <a:gd name="connsiteY2" fmla="*/ 1555607 h 3119502"/>
                <a:gd name="connsiteX3" fmla="*/ 2807527 w 2837466"/>
                <a:gd name="connsiteY3" fmla="*/ 1559751 h 3119502"/>
                <a:gd name="connsiteX4" fmla="*/ 1793669 w 2837466"/>
                <a:gd name="connsiteY4" fmla="*/ 1559751 h 3119502"/>
                <a:gd name="connsiteX5" fmla="*/ 1559709 w 2837466"/>
                <a:gd name="connsiteY5" fmla="*/ 1793712 h 3119502"/>
                <a:gd name="connsiteX6" fmla="*/ 1559709 w 2837466"/>
                <a:gd name="connsiteY6" fmla="*/ 2807569 h 3119502"/>
                <a:gd name="connsiteX7" fmla="*/ 1247775 w 2837466"/>
                <a:gd name="connsiteY7" fmla="*/ 3119502 h 3119502"/>
                <a:gd name="connsiteX8" fmla="*/ 311933 w 2837466"/>
                <a:gd name="connsiteY8" fmla="*/ 3119502 h 3119502"/>
                <a:gd name="connsiteX9" fmla="*/ 0 w 2837466"/>
                <a:gd name="connsiteY9" fmla="*/ 2807569 h 3119502"/>
                <a:gd name="connsiteX10" fmla="*/ 0 w 2837466"/>
                <a:gd name="connsiteY10" fmla="*/ 1871727 h 3119502"/>
                <a:gd name="connsiteX11" fmla="*/ 311933 w 2837466"/>
                <a:gd name="connsiteY11" fmla="*/ 1559794 h 3119502"/>
                <a:gd name="connsiteX12" fmla="*/ 1325791 w 2837466"/>
                <a:gd name="connsiteY12" fmla="*/ 1559794 h 3119502"/>
                <a:gd name="connsiteX13" fmla="*/ 1559751 w 2837466"/>
                <a:gd name="connsiteY13" fmla="*/ 1325834 h 3119502"/>
                <a:gd name="connsiteX14" fmla="*/ 1559751 w 2837466"/>
                <a:gd name="connsiteY14" fmla="*/ 311976 h 3119502"/>
                <a:gd name="connsiteX15" fmla="*/ 1871685 w 2837466"/>
                <a:gd name="connsiteY15" fmla="*/ 43 h 3119502"/>
                <a:gd name="connsiteX16" fmla="*/ 2807527 w 2837466"/>
                <a:gd name="connsiteY16" fmla="*/ 43 h 311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7466" h="3119502">
                  <a:moveTo>
                    <a:pt x="2807527" y="0"/>
                  </a:moveTo>
                  <a:lnTo>
                    <a:pt x="2837466" y="4144"/>
                  </a:lnTo>
                  <a:lnTo>
                    <a:pt x="2837466" y="1555607"/>
                  </a:lnTo>
                  <a:lnTo>
                    <a:pt x="2807527" y="1559751"/>
                  </a:lnTo>
                  <a:lnTo>
                    <a:pt x="1793669" y="1559751"/>
                  </a:lnTo>
                  <a:cubicBezTo>
                    <a:pt x="1664461" y="1559751"/>
                    <a:pt x="1559709" y="1664504"/>
                    <a:pt x="1559709" y="1793712"/>
                  </a:cubicBezTo>
                  <a:lnTo>
                    <a:pt x="1559709" y="2807569"/>
                  </a:lnTo>
                  <a:cubicBezTo>
                    <a:pt x="1559709" y="3008679"/>
                    <a:pt x="1385767" y="3119502"/>
                    <a:pt x="1247775" y="3119502"/>
                  </a:cubicBezTo>
                  <a:lnTo>
                    <a:pt x="311933" y="3119502"/>
                  </a:lnTo>
                  <a:cubicBezTo>
                    <a:pt x="139670" y="3119502"/>
                    <a:pt x="0" y="2979875"/>
                    <a:pt x="0" y="2807569"/>
                  </a:cubicBezTo>
                  <a:lnTo>
                    <a:pt x="0" y="1871727"/>
                  </a:lnTo>
                  <a:cubicBezTo>
                    <a:pt x="0" y="1699464"/>
                    <a:pt x="139627" y="1559794"/>
                    <a:pt x="311933" y="1559794"/>
                  </a:cubicBezTo>
                  <a:lnTo>
                    <a:pt x="1325791" y="1559794"/>
                  </a:lnTo>
                  <a:cubicBezTo>
                    <a:pt x="1454999" y="1559794"/>
                    <a:pt x="1559751" y="1455042"/>
                    <a:pt x="1559751" y="1325834"/>
                  </a:cubicBezTo>
                  <a:lnTo>
                    <a:pt x="1559751" y="311976"/>
                  </a:lnTo>
                  <a:cubicBezTo>
                    <a:pt x="1559751" y="139713"/>
                    <a:pt x="1699379" y="43"/>
                    <a:pt x="1871685" y="43"/>
                  </a:cubicBezTo>
                  <a:lnTo>
                    <a:pt x="2807527" y="43"/>
                  </a:lnTo>
                  <a:close/>
                </a:path>
              </a:pathLst>
            </a:custGeom>
            <a:grpFill/>
            <a:ln w="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3C7BEB01-6BC0-5535-D183-A8E3C1E8D3C9}"/>
                </a:ext>
              </a:extLst>
            </p:cNvPr>
            <p:cNvSpPr>
              <a:spLocks noGrp="1" noRot="1" noMove="1" noResize="1" noEditPoints="1" noAdjustHandles="1" noChangeArrowheads="1" noChangeShapeType="1"/>
            </p:cNvSpPr>
            <p:nvPr/>
          </p:nvSpPr>
          <p:spPr>
            <a:xfrm>
              <a:off x="10914243" y="4537670"/>
              <a:ext cx="1277757" cy="1559707"/>
            </a:xfrm>
            <a:custGeom>
              <a:avLst/>
              <a:gdLst>
                <a:gd name="connsiteX0" fmla="*/ 311933 w 1277757"/>
                <a:gd name="connsiteY0" fmla="*/ 0 h 1559707"/>
                <a:gd name="connsiteX1" fmla="*/ 1277757 w 1277757"/>
                <a:gd name="connsiteY1" fmla="*/ 0 h 1559707"/>
                <a:gd name="connsiteX2" fmla="*/ 1277757 w 1277757"/>
                <a:gd name="connsiteY2" fmla="*/ 1555115 h 1559707"/>
                <a:gd name="connsiteX3" fmla="*/ 1247775 w 1277757"/>
                <a:gd name="connsiteY3" fmla="*/ 1559707 h 1559707"/>
                <a:gd name="connsiteX4" fmla="*/ 311933 w 1277757"/>
                <a:gd name="connsiteY4" fmla="*/ 1559707 h 1559707"/>
                <a:gd name="connsiteX5" fmla="*/ 0 w 1277757"/>
                <a:gd name="connsiteY5" fmla="*/ 1247775 h 1559707"/>
                <a:gd name="connsiteX6" fmla="*/ 0 w 1277757"/>
                <a:gd name="connsiteY6" fmla="*/ 311933 h 1559707"/>
                <a:gd name="connsiteX7" fmla="*/ 311933 w 1277757"/>
                <a:gd name="connsiteY7" fmla="*/ 0 h 15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757" h="1559707">
                  <a:moveTo>
                    <a:pt x="311933" y="0"/>
                  </a:moveTo>
                  <a:lnTo>
                    <a:pt x="1277757" y="0"/>
                  </a:lnTo>
                  <a:lnTo>
                    <a:pt x="1277757" y="1555115"/>
                  </a:lnTo>
                  <a:lnTo>
                    <a:pt x="1247775" y="1559707"/>
                  </a:lnTo>
                  <a:lnTo>
                    <a:pt x="311933" y="1559707"/>
                  </a:lnTo>
                  <a:cubicBezTo>
                    <a:pt x="139670" y="1559707"/>
                    <a:pt x="0" y="1420081"/>
                    <a:pt x="0" y="1247775"/>
                  </a:cubicBezTo>
                  <a:lnTo>
                    <a:pt x="0" y="311933"/>
                  </a:lnTo>
                  <a:cubicBezTo>
                    <a:pt x="0" y="139670"/>
                    <a:pt x="139627" y="0"/>
                    <a:pt x="311933" y="0"/>
                  </a:cubicBezTo>
                  <a:close/>
                </a:path>
              </a:pathLst>
            </a:custGeom>
            <a:grpFill/>
            <a:ln w="0" cap="flat">
              <a:noFill/>
              <a:prstDash val="solid"/>
              <a:miter/>
            </a:ln>
          </p:spPr>
          <p:txBody>
            <a:bodyPr rtlCol="0" anchor="ctr"/>
            <a:lstStyle/>
            <a:p>
              <a:endParaRPr lang="en-US"/>
            </a:p>
          </p:txBody>
        </p:sp>
      </p:grpSp>
      <p:sp>
        <p:nvSpPr>
          <p:cNvPr id="2" name="Title 1"/>
          <p:cNvSpPr>
            <a:spLocks noGrp="1"/>
          </p:cNvSpPr>
          <p:nvPr>
            <p:ph type="ctrTitle" hasCustomPrompt="1"/>
          </p:nvPr>
        </p:nvSpPr>
        <p:spPr bwMode="invGray">
          <a:xfrm>
            <a:off x="471600" y="3070800"/>
            <a:ext cx="6505200" cy="720000"/>
          </a:xfrm>
        </p:spPr>
        <p:txBody>
          <a:bodyPr lIns="0" tIns="0" rIns="0" bIns="0" anchor="ctr" anchorCtr="0"/>
          <a:lstStyle>
            <a:lvl1pPr algn="l">
              <a:lnSpc>
                <a:spcPct val="82000"/>
              </a:lnSpc>
              <a:defRPr sz="5000" b="0" cap="none" baseline="0">
                <a:solidFill>
                  <a:srgbClr val="035C67"/>
                </a:solidFill>
              </a:defRPr>
            </a:lvl1pPr>
          </a:lstStyle>
          <a:p>
            <a:r>
              <a:rPr lang="en-US" noProof="0"/>
              <a:t>Click to add title</a:t>
            </a:r>
            <a:endParaRPr lang="en-US"/>
          </a:p>
        </p:txBody>
      </p:sp>
      <p:sp>
        <p:nvSpPr>
          <p:cNvPr id="12" name="Legal dynamic" descr="{&quot;templafy&quot;:{&quot;id&quot;:&quot;f84b2a51-c4c8-4bd3-bef5-0753117a90a6&quot;}}" title="Form.Cigna_Confidentiality.EvernorthConfidentiality">
            <a:extLst>
              <a:ext uri="{FF2B5EF4-FFF2-40B4-BE49-F238E27FC236}">
                <a16:creationId xmlns:a16="http://schemas.microsoft.com/office/drawing/2014/main" id="{277B4946-98FA-1029-C301-F518F400A71D}"/>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3" name="Internal Stamp dynamic" descr="{&quot;templafy&quot;:{&quot;id&quot;:&quot;97d3bf9e-db67-4e67-9273-50f0b000c59a&quot;}}" title="Form.Cigna_Confidentiality.Cigna_confidentiality">
            <a:extLst>
              <a:ext uri="{FF2B5EF4-FFF2-40B4-BE49-F238E27FC236}">
                <a16:creationId xmlns:a16="http://schemas.microsoft.com/office/drawing/2014/main" id="{A412EB88-9FB0-5430-3BF6-0C6E3810143A}"/>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5" name="Dynamic logo dark mint" descr="{&quot;templafy&quot;:{&quot;id&quot;:&quot;d82bbca5-acac-4c7b-9186-65691b32c5ed&quot;}}">
            <a:extLst>
              <a:ext uri="{FF2B5EF4-FFF2-40B4-BE49-F238E27FC236}">
                <a16:creationId xmlns:a16="http://schemas.microsoft.com/office/drawing/2014/main" id="{1DBF351A-D8D6-6C90-C4F9-1D2C05B324A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3" name="Date Placeholder 5">
            <a:extLst>
              <a:ext uri="{FF2B5EF4-FFF2-40B4-BE49-F238E27FC236}">
                <a16:creationId xmlns:a16="http://schemas.microsoft.com/office/drawing/2014/main" id="{CDB8889B-7D4B-B157-EAE6-E71A7CB638FC}"/>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2142227593"/>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 Breaker two lines">
    <p:bg>
      <p:bgRef idx="1001">
        <a:schemeClr val="bg1"/>
      </p:bgRef>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pic>
        <p:nvPicPr>
          <p:cNvPr id="6" name="Graphic cross">
            <a:extLst>
              <a:ext uri="{FF2B5EF4-FFF2-40B4-BE49-F238E27FC236}">
                <a16:creationId xmlns:a16="http://schemas.microsoft.com/office/drawing/2014/main" id="{3397F3B4-EC3B-29BD-5415-60416F9C2A48}"/>
              </a:ext>
            </a:extLst>
          </p:cNvPr>
          <p:cNvPicPr>
            <a:picLocks noGrp="1" noRot="1" noChangeAspect="1" noMove="1" noResize="1" noEditPoints="1" noAdjustHandles="1" noChangeArrowheads="1" noChangeShapeType="1" noCrop="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bwMode="white">
          <a:xfrm>
            <a:off x="1472400" y="2700000"/>
            <a:ext cx="9248400" cy="1461600"/>
          </a:xfrm>
          <a:noFill/>
        </p:spPr>
        <p:txBody>
          <a:bodyPr lIns="0" tIns="0" rIns="0" bIns="0" anchor="ctr" anchorCtr="0"/>
          <a:lstStyle>
            <a:lvl1pPr algn="ctr">
              <a:lnSpc>
                <a:spcPct val="82000"/>
              </a:lnSpc>
              <a:defRPr sz="5500" b="0" cap="none" baseline="0">
                <a:solidFill>
                  <a:srgbClr val="3EFFC0"/>
                </a:solidFill>
              </a:defRPr>
            </a:lvl1pPr>
          </a:lstStyle>
          <a:p>
            <a:r>
              <a:rPr lang="en-US" noProof="0"/>
              <a:t>Click to add title one or two lines</a:t>
            </a:r>
            <a:endParaRPr lang="en-US"/>
          </a:p>
        </p:txBody>
      </p:sp>
      <p:sp>
        <p:nvSpPr>
          <p:cNvPr id="4" name="Legal dynamic" descr="{&quot;templafy&quot;:{&quot;id&quot;:&quot;1b7fe617-3404-4608-8fbb-ff3b92f7ce5e&quot;}}" title="Form.Cigna_Confidentiality.EvernorthConfidentiality">
            <a:extLst>
              <a:ext uri="{FF2B5EF4-FFF2-40B4-BE49-F238E27FC236}">
                <a16:creationId xmlns:a16="http://schemas.microsoft.com/office/drawing/2014/main" id="{1EE78D64-9062-2C87-DB44-71A4100BC205}"/>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a3b02a7f-b484-4d25-a0d0-540843a50cf6&quot;}}" title="Form.Cigna_Confidentiality.Cigna_confidentiality">
            <a:extLst>
              <a:ext uri="{FF2B5EF4-FFF2-40B4-BE49-F238E27FC236}">
                <a16:creationId xmlns:a16="http://schemas.microsoft.com/office/drawing/2014/main" id="{843BD6EC-0EE8-108A-F5ED-B7C8AAFBFA6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10" name="Dynamic logo hypermint" descr="{&quot;templafy&quot;:{&quot;id&quot;:&quot;b47b5064-24a5-4a68-98cc-ef334d7e3a2e&quot;}}">
            <a:extLst>
              <a:ext uri="{FF2B5EF4-FFF2-40B4-BE49-F238E27FC236}">
                <a16:creationId xmlns:a16="http://schemas.microsoft.com/office/drawing/2014/main" id="{40A439C3-9B9A-76C4-0B86-AC74BD34C815}"/>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9" name="Slide Number Placeholder 8">
            <a:extLst>
              <a:ext uri="{FF2B5EF4-FFF2-40B4-BE49-F238E27FC236}">
                <a16:creationId xmlns:a16="http://schemas.microsoft.com/office/drawing/2014/main" id="{42658D38-9F5D-D5DA-A4E0-58E42A14FE0E}"/>
              </a:ext>
            </a:extLst>
          </p:cNvPr>
          <p:cNvSpPr>
            <a:spLocks noGrp="1"/>
          </p:cNvSpPr>
          <p:nvPr>
            <p:ph type="sldNum" sz="quarter" idx="11"/>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8" name="Date Placeholder 7">
            <a:extLst>
              <a:ext uri="{FF2B5EF4-FFF2-40B4-BE49-F238E27FC236}">
                <a16:creationId xmlns:a16="http://schemas.microsoft.com/office/drawing/2014/main" id="{A7603C82-1CB3-CFF8-25EE-45B7F8343AFB}"/>
              </a:ext>
            </a:extLst>
          </p:cNvPr>
          <p:cNvSpPr>
            <a:spLocks noGrp="1"/>
          </p:cNvSpPr>
          <p:nvPr>
            <p:ph type="dt" sz="half" idx="12"/>
          </p:nvPr>
        </p:nvSpPr>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265912842"/>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 Breaker two lines">
    <p:bg>
      <p:bgRef idx="1001">
        <a:schemeClr val="bg1"/>
      </p:bgRef>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pic>
        <p:nvPicPr>
          <p:cNvPr id="6" name="Graphic cross">
            <a:extLst>
              <a:ext uri="{FF2B5EF4-FFF2-40B4-BE49-F238E27FC236}">
                <a16:creationId xmlns:a16="http://schemas.microsoft.com/office/drawing/2014/main" id="{DC7709FF-6A19-C1CD-8819-2E0D7BEFFCA2}"/>
              </a:ext>
            </a:extLst>
          </p:cNvPr>
          <p:cNvPicPr>
            <a:picLocks noGrp="1" noRot="1" noChangeAspect="1" noMove="1" noResize="1" noEditPoints="1" noAdjustHandles="1" noChangeArrowheads="1" noChangeShapeType="1" noCrop="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bwMode="white">
          <a:xfrm>
            <a:off x="1472400" y="2700000"/>
            <a:ext cx="9248400" cy="1461600"/>
          </a:xfrm>
          <a:noFill/>
        </p:spPr>
        <p:txBody>
          <a:bodyPr lIns="0" tIns="0" rIns="0" bIns="0" anchor="ctr" anchorCtr="0"/>
          <a:lstStyle>
            <a:lvl1pPr algn="ctr">
              <a:lnSpc>
                <a:spcPct val="82000"/>
              </a:lnSpc>
              <a:defRPr sz="5500" b="0" cap="none" baseline="0">
                <a:solidFill>
                  <a:srgbClr val="035C67"/>
                </a:solidFill>
              </a:defRPr>
            </a:lvl1pPr>
          </a:lstStyle>
          <a:p>
            <a:r>
              <a:rPr lang="en-US" noProof="0"/>
              <a:t>Click to add title one or two lines</a:t>
            </a:r>
            <a:endParaRPr lang="en-US"/>
          </a:p>
        </p:txBody>
      </p:sp>
      <p:sp>
        <p:nvSpPr>
          <p:cNvPr id="4" name="Legal dynamic" descr="{&quot;templafy&quot;:{&quot;id&quot;:&quot;36b25bc3-1cd5-40df-8b75-4faf16b85f6f&quot;}}" title="Form.Cigna_Confidentiality.EvernorthConfidentiality">
            <a:extLst>
              <a:ext uri="{FF2B5EF4-FFF2-40B4-BE49-F238E27FC236}">
                <a16:creationId xmlns:a16="http://schemas.microsoft.com/office/drawing/2014/main" id="{8E1BE577-B361-29D0-8DCC-248E6256A662}"/>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ded12157-4283-4629-9d32-a15d941c3081&quot;}}" title="Form.Cigna_Confidentiality.Cigna_confidentiality">
            <a:extLst>
              <a:ext uri="{FF2B5EF4-FFF2-40B4-BE49-F238E27FC236}">
                <a16:creationId xmlns:a16="http://schemas.microsoft.com/office/drawing/2014/main" id="{314BA6B4-D178-BBB1-96B1-8C45998C03F6}"/>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9" name="Dynamic logo dark mint" descr="{&quot;templafy&quot;:{&quot;id&quot;:&quot;d538af00-9316-46d4-bbdb-0ea7d43be90d&quot;}}">
            <a:extLst>
              <a:ext uri="{FF2B5EF4-FFF2-40B4-BE49-F238E27FC236}">
                <a16:creationId xmlns:a16="http://schemas.microsoft.com/office/drawing/2014/main" id="{44E0EE19-2494-4162-FF6C-3B1D128FAA43}"/>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3" name="Date Placeholder 5">
            <a:extLst>
              <a:ext uri="{FF2B5EF4-FFF2-40B4-BE49-F238E27FC236}">
                <a16:creationId xmlns:a16="http://schemas.microsoft.com/office/drawing/2014/main" id="{425A7A59-526D-417A-0F7E-B253444D561D}"/>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33869661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Breaker two lines">
    <p:bg>
      <p:bgRef idx="1001">
        <a:schemeClr val="bg1"/>
      </p:bgRef>
    </p:bg>
    <p:spTree>
      <p:nvGrpSpPr>
        <p:cNvPr id="1" name=""/>
        <p:cNvGrpSpPr/>
        <p:nvPr/>
      </p:nvGrpSpPr>
      <p:grpSpPr>
        <a:xfrm>
          <a:off x="0" y="0"/>
          <a:ext cx="0" cy="0"/>
          <a:chOff x="0" y="0"/>
          <a:chExt cx="0" cy="0"/>
        </a:xfrm>
      </p:grpSpPr>
      <p:sp>
        <p:nvSpPr>
          <p:cNvPr id="7" name="Background"/>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02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pic>
        <p:nvPicPr>
          <p:cNvPr id="3" name="Graphic cross">
            <a:extLst>
              <a:ext uri="{FF2B5EF4-FFF2-40B4-BE49-F238E27FC236}">
                <a16:creationId xmlns:a16="http://schemas.microsoft.com/office/drawing/2014/main" id="{0D17D0C3-FBCC-189F-1534-E87FF2CF8687}"/>
              </a:ext>
            </a:extLst>
          </p:cNvPr>
          <p:cNvPicPr>
            <a:picLocks noGrp="1" noRot="1" noChangeAspect="1" noMove="1" noResize="1" noEditPoints="1" noAdjustHandles="1" noChangeArrowheads="1" noChangeShapeType="1" noCrop="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bwMode="white">
          <a:xfrm>
            <a:off x="1472400" y="2700000"/>
            <a:ext cx="9248400" cy="1461600"/>
          </a:xfrm>
          <a:noFill/>
        </p:spPr>
        <p:txBody>
          <a:bodyPr lIns="0" tIns="0" rIns="0" bIns="0" anchor="ctr" anchorCtr="0"/>
          <a:lstStyle>
            <a:lvl1pPr algn="ctr">
              <a:lnSpc>
                <a:spcPct val="82000"/>
              </a:lnSpc>
              <a:defRPr sz="5500" b="0" cap="none" baseline="0">
                <a:solidFill>
                  <a:schemeClr val="tx2"/>
                </a:solidFill>
              </a:defRPr>
            </a:lvl1pPr>
          </a:lstStyle>
          <a:p>
            <a:r>
              <a:rPr lang="en-US" noProof="0"/>
              <a:t>Click to add title one or two lines</a:t>
            </a:r>
            <a:endParaRPr lang="en-US"/>
          </a:p>
        </p:txBody>
      </p:sp>
      <p:sp>
        <p:nvSpPr>
          <p:cNvPr id="6" name="Legal dynamic" descr="{&quot;templafy&quot;:{&quot;id&quot;:&quot;fb09813e-d17e-4c4c-a1ef-03d5b1899dde&quot;}}" title="Form.Cigna_Confidentiality.EvernorthConfidentiality">
            <a:extLst>
              <a:ext uri="{FF2B5EF4-FFF2-40B4-BE49-F238E27FC236}">
                <a16:creationId xmlns:a16="http://schemas.microsoft.com/office/drawing/2014/main" id="{301FC125-FF7E-ABB9-E2F8-B9E9EC11F6CF}"/>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2" name="Internal Stamp dynamic" descr="{&quot;templafy&quot;:{&quot;id&quot;:&quot;5218cba1-0114-4e28-8995-e129908c0bf8&quot;}}" title="Form.Cigna_Confidentiality.Cigna_confidentiality">
            <a:extLst>
              <a:ext uri="{FF2B5EF4-FFF2-40B4-BE49-F238E27FC236}">
                <a16:creationId xmlns:a16="http://schemas.microsoft.com/office/drawing/2014/main" id="{5C1BC7D9-0801-EA19-281A-2CC4CEAC8B0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a3d2a207-eaf3-49a2-9b10-8fdb0b7bbd3e&quot;}}">
            <a:extLst>
              <a:ext uri="{FF2B5EF4-FFF2-40B4-BE49-F238E27FC236}">
                <a16:creationId xmlns:a16="http://schemas.microsoft.com/office/drawing/2014/main" id="{613287EA-C5C7-B719-15CB-B2697325C84D}"/>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4" name="Date Placeholder 5">
            <a:extLst>
              <a:ext uri="{FF2B5EF4-FFF2-40B4-BE49-F238E27FC236}">
                <a16:creationId xmlns:a16="http://schemas.microsoft.com/office/drawing/2014/main" id="{D3EB88F2-AB37-2E89-154E-EEFDE0A3A9D9}"/>
              </a:ext>
            </a:extLst>
          </p:cNvPr>
          <p:cNvSpPr>
            <a:spLocks noGrp="1"/>
          </p:cNvSpPr>
          <p:nvPr>
            <p:ph type="dt" sz="half" idx="13"/>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753035639"/>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ADA00A3-1949-BBC2-B834-FFE8121ED8D9}"/>
              </a:ext>
            </a:extLst>
          </p:cNvPr>
          <p:cNvSpPr>
            <a:spLocks noGrp="1"/>
          </p:cNvSpPr>
          <p:nvPr>
            <p:ph type="title" hasCustomPrompt="1"/>
          </p:nvPr>
        </p:nvSpPr>
        <p:spPr>
          <a:xfrm>
            <a:off x="360000" y="295200"/>
            <a:ext cx="7588800" cy="469910"/>
          </a:xfrm>
        </p:spPr>
        <p:txBody>
          <a:bodyPr/>
          <a:lstStyle/>
          <a:p>
            <a:r>
              <a:rPr lang="en-US" noProof="0"/>
              <a:t>Click to add title</a:t>
            </a:r>
            <a:endParaRPr lang="en-US"/>
          </a:p>
        </p:txBody>
      </p:sp>
      <p:sp>
        <p:nvSpPr>
          <p:cNvPr id="9" name="Text Placeholder sub">
            <a:extLst>
              <a:ext uri="{FF2B5EF4-FFF2-40B4-BE49-F238E27FC236}">
                <a16:creationId xmlns:a16="http://schemas.microsoft.com/office/drawing/2014/main" id="{6624D307-17AE-B860-B6BF-FBF2952BA7BA}"/>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60000" y="1706400"/>
            <a:ext cx="7588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4" name="Text Placeholder notes">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749200"/>
            <a:ext cx="75888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18DB4F76-CF7B-A1C3-7AF9-A6971FBEC67D}"/>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2" name="Date Placeholder 5">
            <a:extLst>
              <a:ext uri="{FF2B5EF4-FFF2-40B4-BE49-F238E27FC236}">
                <a16:creationId xmlns:a16="http://schemas.microsoft.com/office/drawing/2014/main" id="{061C8315-12EC-5E0D-B4DC-24F0A0F9B17C}"/>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99920400"/>
      </p:ext>
    </p:extLst>
  </p:cSld>
  <p:clrMapOvr>
    <a:masterClrMapping/>
  </p:clrMapOvr>
  <p:extLst>
    <p:ext uri="{DCECCB84-F9BA-43D5-87BE-67443E8EF086}">
      <p15:sldGuideLst xmlns:p15="http://schemas.microsoft.com/office/powerpoint/2012/main">
        <p15:guide id="1" orient="horz" pos="1074">
          <p15:clr>
            <a:srgbClr val="F26B43"/>
          </p15:clr>
        </p15:guide>
        <p15:guide id="2" orient="horz" pos="486">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 Content w/eyebr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533211"/>
            <a:ext cx="7588800" cy="1166400"/>
          </a:xfrm>
        </p:spPr>
        <p:txBody>
          <a:bodyPr/>
          <a:lstStyle>
            <a:lvl1pPr>
              <a:defRPr>
                <a:solidFill>
                  <a:schemeClr val="accent3"/>
                </a:solidFill>
              </a:defRPr>
            </a:lvl1pPr>
          </a:lstStyle>
          <a:p>
            <a:r>
              <a:rPr lang="en-US" noProof="0"/>
              <a:t>Click to add title</a:t>
            </a:r>
            <a:endParaRPr lang="en-US"/>
          </a:p>
        </p:txBody>
      </p:sp>
      <p:sp>
        <p:nvSpPr>
          <p:cNvPr id="5" name="Text Placeholder eyebrow">
            <a:extLst>
              <a:ext uri="{FF2B5EF4-FFF2-40B4-BE49-F238E27FC236}">
                <a16:creationId xmlns:a16="http://schemas.microsoft.com/office/drawing/2014/main" id="{AC99B38F-58E3-4A4E-B317-D556CB4BD79C}"/>
              </a:ext>
            </a:extLst>
          </p:cNvPr>
          <p:cNvSpPr>
            <a:spLocks noGrp="1"/>
          </p:cNvSpPr>
          <p:nvPr>
            <p:ph type="body" sz="quarter" idx="17" hasCustomPrompt="1"/>
          </p:nvPr>
        </p:nvSpPr>
        <p:spPr>
          <a:xfrm>
            <a:off x="360000" y="296574"/>
            <a:ext cx="7588800" cy="232064"/>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3" name="Content Placeholder 2"/>
          <p:cNvSpPr>
            <a:spLocks noGrp="1"/>
          </p:cNvSpPr>
          <p:nvPr>
            <p:ph idx="1" hasCustomPrompt="1"/>
          </p:nvPr>
        </p:nvSpPr>
        <p:spPr>
          <a:xfrm>
            <a:off x="360000" y="1706399"/>
            <a:ext cx="7588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4" name="Text Placeholder notes">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749200"/>
            <a:ext cx="7588800" cy="288000"/>
          </a:xfrm>
        </p:spPr>
        <p:txBody>
          <a:bodyPr anchor="b"/>
          <a:lstStyle>
            <a:lvl1pPr marL="0" indent="0">
              <a:buNone/>
              <a:defRPr sz="900" i="1">
                <a:solidFill>
                  <a:schemeClr val="tx1"/>
                </a:solidFill>
              </a:defRPr>
            </a:lvl1pPr>
          </a:lstStyle>
          <a:p>
            <a:pPr lvl="0"/>
            <a:r>
              <a:rPr lang="en-US"/>
              <a:t>Insert notes</a:t>
            </a:r>
          </a:p>
        </p:txBody>
      </p:sp>
      <p:sp>
        <p:nvSpPr>
          <p:cNvPr id="8" name="Slide Number Placeholder 7">
            <a:extLst>
              <a:ext uri="{FF2B5EF4-FFF2-40B4-BE49-F238E27FC236}">
                <a16:creationId xmlns:a16="http://schemas.microsoft.com/office/drawing/2014/main" id="{B1EB77F1-4CE8-6D3E-4EBE-D5782485C18F}"/>
              </a:ext>
            </a:extLst>
          </p:cNvPr>
          <p:cNvSpPr>
            <a:spLocks noGrp="1"/>
          </p:cNvSpPr>
          <p:nvPr>
            <p:ph type="sldNum" sz="quarter" idx="19"/>
          </p:nvPr>
        </p:nvSpPr>
        <p:spPr/>
        <p:txBody>
          <a:bodyPr/>
          <a:lstStyle/>
          <a:p>
            <a:fld id="{23AA811B-2EBD-4900-905E-5BE206449611}" type="slidenum">
              <a:rPr lang="en-US" smtClean="0"/>
              <a:pPr/>
              <a:t>‹#›</a:t>
            </a:fld>
            <a:endParaRPr lang="en-US"/>
          </a:p>
        </p:txBody>
      </p:sp>
      <p:sp>
        <p:nvSpPr>
          <p:cNvPr id="4" name="Date Placeholder 5">
            <a:extLst>
              <a:ext uri="{FF2B5EF4-FFF2-40B4-BE49-F238E27FC236}">
                <a16:creationId xmlns:a16="http://schemas.microsoft.com/office/drawing/2014/main" id="{1824F7E0-09FE-608C-C740-C95642268977}"/>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934764870"/>
      </p:ext>
    </p:extLst>
  </p:cSld>
  <p:clrMapOvr>
    <a:masterClrMapping/>
  </p:clrMapOvr>
  <p:extLst>
    <p:ext uri="{DCECCB84-F9BA-43D5-87BE-67443E8EF086}">
      <p15:sldGuideLst xmlns:p15="http://schemas.microsoft.com/office/powerpoint/2012/main">
        <p15:guide id="2" orient="horz" pos="336">
          <p15:clr>
            <a:srgbClr val="F26B43"/>
          </p15:clr>
        </p15:guide>
        <p15:guide id="3" orient="horz" pos="107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 Cover">
    <p:bg bwMode="ltGray">
      <p:bgPr>
        <a:solidFill>
          <a:schemeClr val="accent3"/>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grpSp>
        <p:nvGrpSpPr>
          <p:cNvPr id="5" name="Group 4">
            <a:extLst>
              <a:ext uri="{FF2B5EF4-FFF2-40B4-BE49-F238E27FC236}">
                <a16:creationId xmlns:a16="http://schemas.microsoft.com/office/drawing/2014/main" id="{52AB8F58-9CA7-7C04-25DC-4B758BE316F0}"/>
              </a:ext>
            </a:extLst>
          </p:cNvPr>
          <p:cNvGrpSpPr>
            <a:grpSpLocks noGrp="1" noUngrp="1" noRot="1" noMove="1" noResize="1"/>
          </p:cNvGrpSpPr>
          <p:nvPr userDrawn="1"/>
        </p:nvGrpSpPr>
        <p:grpSpPr>
          <a:xfrm>
            <a:off x="7656945" y="3014"/>
            <a:ext cx="4535055" cy="6861600"/>
            <a:chOff x="7656945" y="3014"/>
            <a:chExt cx="4535055" cy="6858000"/>
          </a:xfrm>
          <a:blipFill dpi="0" rotWithShape="0">
            <a:blip r:embed="rId2"/>
            <a:srcRect/>
            <a:stretch>
              <a:fillRect l="-2000" t="-1000" r="-1000" b="-1000"/>
            </a:stretch>
          </a:blipFill>
        </p:grpSpPr>
        <p:sp>
          <p:nvSpPr>
            <p:cNvPr id="7" name="Freeform 24">
              <a:extLst>
                <a:ext uri="{FF2B5EF4-FFF2-40B4-BE49-F238E27FC236}">
                  <a16:creationId xmlns:a16="http://schemas.microsoft.com/office/drawing/2014/main" id="{F6A15AAB-84DC-8E03-3953-C831D907F816}"/>
                </a:ext>
              </a:extLst>
            </p:cNvPr>
            <p:cNvSpPr>
              <a:spLocks noGrp="1" noRot="1" noMove="1" noResize="1" noEditPoints="1" noAdjustHandles="1" noChangeArrowheads="1" noChangeShapeType="1"/>
            </p:cNvSpPr>
            <p:nvPr userDrawn="1"/>
          </p:nvSpPr>
          <p:spPr>
            <a:xfrm>
              <a:off x="7656945" y="3014"/>
              <a:ext cx="4535055" cy="4859491"/>
            </a:xfrm>
            <a:custGeom>
              <a:avLst/>
              <a:gdLst>
                <a:gd name="connsiteX0" fmla="*/ 2843841 w 4535055"/>
                <a:gd name="connsiteY0" fmla="*/ 0 h 4859491"/>
                <a:gd name="connsiteX1" fmla="*/ 4535055 w 4535055"/>
                <a:gd name="connsiteY1" fmla="*/ 0 h 4859491"/>
                <a:gd name="connsiteX2" fmla="*/ 4535055 w 4535055"/>
                <a:gd name="connsiteY2" fmla="*/ 2010314 h 4859491"/>
                <a:gd name="connsiteX3" fmla="*/ 3270417 w 4535055"/>
                <a:gd name="connsiteY3" fmla="*/ 2010314 h 4859491"/>
                <a:gd name="connsiteX4" fmla="*/ 2843841 w 4535055"/>
                <a:gd name="connsiteY4" fmla="*/ 2437691 h 4859491"/>
                <a:gd name="connsiteX5" fmla="*/ 2843841 w 4535055"/>
                <a:gd name="connsiteY5" fmla="*/ 4289656 h 4859491"/>
                <a:gd name="connsiteX6" fmla="*/ 2275073 w 4535055"/>
                <a:gd name="connsiteY6" fmla="*/ 4859491 h 4859491"/>
                <a:gd name="connsiteX7" fmla="*/ 568768 w 4535055"/>
                <a:gd name="connsiteY7" fmla="*/ 4859491 h 4859491"/>
                <a:gd name="connsiteX8" fmla="*/ 0 w 4535055"/>
                <a:gd name="connsiteY8" fmla="*/ 4289656 h 4859491"/>
                <a:gd name="connsiteX9" fmla="*/ 0 w 4535055"/>
                <a:gd name="connsiteY9" fmla="*/ 2580150 h 4859491"/>
                <a:gd name="connsiteX10" fmla="*/ 568768 w 4535055"/>
                <a:gd name="connsiteY10" fmla="*/ 2010314 h 4859491"/>
                <a:gd name="connsiteX11" fmla="*/ 2417265 w 4535055"/>
                <a:gd name="connsiteY11" fmla="*/ 2010314 h 4859491"/>
                <a:gd name="connsiteX12" fmla="*/ 2843841 w 4535055"/>
                <a:gd name="connsiteY12" fmla="*/ 1582937 h 4859491"/>
                <a:gd name="connsiteX13" fmla="*/ 2843841 w 4535055"/>
                <a:gd name="connsiteY13" fmla="*/ 0 h 485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5055" h="4859491">
                  <a:moveTo>
                    <a:pt x="2843841" y="0"/>
                  </a:moveTo>
                  <a:lnTo>
                    <a:pt x="4535055" y="0"/>
                  </a:lnTo>
                  <a:lnTo>
                    <a:pt x="4535055" y="2010314"/>
                  </a:lnTo>
                  <a:lnTo>
                    <a:pt x="3270417" y="2010314"/>
                  </a:lnTo>
                  <a:cubicBezTo>
                    <a:pt x="3034733" y="2010314"/>
                    <a:pt x="2843841" y="2201566"/>
                    <a:pt x="2843841" y="2437691"/>
                  </a:cubicBezTo>
                  <a:lnTo>
                    <a:pt x="2843841" y="4289656"/>
                  </a:lnTo>
                  <a:cubicBezTo>
                    <a:pt x="2843841" y="4657201"/>
                    <a:pt x="2526754" y="4859491"/>
                    <a:pt x="2275073" y="4859491"/>
                  </a:cubicBezTo>
                  <a:lnTo>
                    <a:pt x="568768" y="4859491"/>
                  </a:lnTo>
                  <a:cubicBezTo>
                    <a:pt x="254524" y="4859491"/>
                    <a:pt x="0" y="4604490"/>
                    <a:pt x="0" y="4289656"/>
                  </a:cubicBezTo>
                  <a:lnTo>
                    <a:pt x="0" y="2580150"/>
                  </a:lnTo>
                  <a:cubicBezTo>
                    <a:pt x="0" y="2265315"/>
                    <a:pt x="254524" y="2010314"/>
                    <a:pt x="568768" y="2010314"/>
                  </a:cubicBezTo>
                  <a:lnTo>
                    <a:pt x="2417265" y="2010314"/>
                  </a:lnTo>
                  <a:cubicBezTo>
                    <a:pt x="2652948" y="2010314"/>
                    <a:pt x="2843841" y="1819064"/>
                    <a:pt x="2843841" y="1582937"/>
                  </a:cubicBezTo>
                  <a:lnTo>
                    <a:pt x="284384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8" name="Freeform 34">
              <a:extLst>
                <a:ext uri="{FF2B5EF4-FFF2-40B4-BE49-F238E27FC236}">
                  <a16:creationId xmlns:a16="http://schemas.microsoft.com/office/drawing/2014/main" id="{ED1ECDA9-0E9A-D958-D6F3-5AD98884AFDC}"/>
                </a:ext>
              </a:extLst>
            </p:cNvPr>
            <p:cNvSpPr>
              <a:spLocks noGrp="1" noRot="1" noMove="1" noResize="1" noEditPoints="1" noAdjustHandles="1" noChangeArrowheads="1" noChangeShapeType="1"/>
            </p:cNvSpPr>
            <p:nvPr userDrawn="1"/>
          </p:nvSpPr>
          <p:spPr>
            <a:xfrm>
              <a:off x="10494438" y="4856155"/>
              <a:ext cx="1691212" cy="2004859"/>
            </a:xfrm>
            <a:custGeom>
              <a:avLst/>
              <a:gdLst>
                <a:gd name="connsiteX0" fmla="*/ 568768 w 1691212"/>
                <a:gd name="connsiteY0" fmla="*/ 0 h 2004859"/>
                <a:gd name="connsiteX1" fmla="*/ 1691212 w 1691212"/>
                <a:gd name="connsiteY1" fmla="*/ 0 h 2004859"/>
                <a:gd name="connsiteX2" fmla="*/ 1691212 w 1691212"/>
                <a:gd name="connsiteY2" fmla="*/ 2004859 h 2004859"/>
                <a:gd name="connsiteX3" fmla="*/ 0 w 1691212"/>
                <a:gd name="connsiteY3" fmla="*/ 2004859 h 2004859"/>
                <a:gd name="connsiteX4" fmla="*/ 0 w 1691212"/>
                <a:gd name="connsiteY4" fmla="*/ 568300 h 2004859"/>
                <a:gd name="connsiteX5" fmla="*/ 568768 w 1691212"/>
                <a:gd name="connsiteY5" fmla="*/ 0 h 200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1212" h="2004859">
                  <a:moveTo>
                    <a:pt x="568768" y="0"/>
                  </a:moveTo>
                  <a:lnTo>
                    <a:pt x="1691212" y="0"/>
                  </a:lnTo>
                  <a:lnTo>
                    <a:pt x="1691212" y="2004859"/>
                  </a:lnTo>
                  <a:lnTo>
                    <a:pt x="0" y="2004859"/>
                  </a:lnTo>
                  <a:lnTo>
                    <a:pt x="0" y="568300"/>
                  </a:lnTo>
                  <a:cubicBezTo>
                    <a:pt x="0" y="254316"/>
                    <a:pt x="254524" y="0"/>
                    <a:pt x="5687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sp>
        <p:nvSpPr>
          <p:cNvPr id="2" name="Title 1"/>
          <p:cNvSpPr>
            <a:spLocks noGrp="1"/>
          </p:cNvSpPr>
          <p:nvPr>
            <p:ph type="ctrTitle" hasCustomPrompt="1"/>
          </p:nvPr>
        </p:nvSpPr>
        <p:spPr>
          <a:xfrm>
            <a:off x="360000" y="1454400"/>
            <a:ext cx="5647100" cy="1820862"/>
          </a:xfrm>
          <a:noFill/>
        </p:spPr>
        <p:txBody>
          <a:bodyPr anchor="b" anchorCtr="0"/>
          <a:lstStyle>
            <a:lvl1pPr algn="l">
              <a:lnSpc>
                <a:spcPct val="85000"/>
              </a:lnSpc>
              <a:defRPr sz="6000" b="0">
                <a:solidFill>
                  <a:srgbClr val="3EFFC0"/>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a:xfrm>
            <a:off x="360000" y="3654000"/>
            <a:ext cx="5647100" cy="2094338"/>
          </a:xfrm>
        </p:spPr>
        <p:txBody>
          <a:bodyPr/>
          <a:lstStyle>
            <a:lvl1pPr marL="0" indent="0">
              <a:lnSpc>
                <a:spcPct val="105000"/>
              </a:lnSpc>
              <a:buNone/>
              <a:defRPr sz="2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sp>
        <p:nvSpPr>
          <p:cNvPr id="9" name="Legal dynamic" descr="{&quot;templafy&quot;:{&quot;id&quot;:&quot;2894b1a9-c4c1-4ade-b03f-883c451583ef&quot;}}" title="Form.Cigna_Confidentiality.EvernorthConfidentiality">
            <a:extLst>
              <a:ext uri="{FF2B5EF4-FFF2-40B4-BE49-F238E27FC236}">
                <a16:creationId xmlns:a16="http://schemas.microsoft.com/office/drawing/2014/main" id="{8B8899C8-69F6-9AFE-AA38-1EABFEB288BA}"/>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2" name="Internal Stamp dynamic" descr="{&quot;templafy&quot;:{&quot;id&quot;:&quot;45c267bf-24d8-43f0-99f1-1cda38127b56&quot;}}" title="Form.Cigna_Confidentiality.Cigna_confidentiality">
            <a:extLst>
              <a:ext uri="{FF2B5EF4-FFF2-40B4-BE49-F238E27FC236}">
                <a16:creationId xmlns:a16="http://schemas.microsoft.com/office/drawing/2014/main" id="{AA48E33A-6C71-7228-CE4F-30FE9DB67DB9}"/>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13" name="Dynamic logo hypermint" descr="{&quot;templafy&quot;:{&quot;id&quot;:&quot;7dc06f0f-f3f5-4c4c-a05d-ad5bcdfe9946&quot;}}">
            <a:extLst>
              <a:ext uri="{FF2B5EF4-FFF2-40B4-BE49-F238E27FC236}">
                <a16:creationId xmlns:a16="http://schemas.microsoft.com/office/drawing/2014/main" id="{3AEA4794-2ECB-2D1F-1CA4-4D94BE2A767C}"/>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4" name="Slide Number Placeholder 3">
            <a:extLst>
              <a:ext uri="{FF2B5EF4-FFF2-40B4-BE49-F238E27FC236}">
                <a16:creationId xmlns:a16="http://schemas.microsoft.com/office/drawing/2014/main" id="{F1F6D702-BBF5-7531-EF03-D02F16D5E128}"/>
              </a:ext>
            </a:extLst>
          </p:cNvPr>
          <p:cNvSpPr>
            <a:spLocks noGrp="1"/>
          </p:cNvSpPr>
          <p:nvPr>
            <p:ph type="sldNum" sz="quarter" idx="15"/>
          </p:nvPr>
        </p:nvSpPr>
        <p:spPr/>
        <p:txBody>
          <a:bodyPr/>
          <a:lstStyle/>
          <a:p>
            <a:fld id="{23AA811B-2EBD-4900-905E-5BE206449611}" type="slidenum">
              <a:rPr lang="en-US" smtClean="0"/>
              <a:pPr/>
              <a:t>‹#›</a:t>
            </a:fld>
            <a:endParaRPr lang="en-US"/>
          </a:p>
        </p:txBody>
      </p:sp>
      <p:sp>
        <p:nvSpPr>
          <p:cNvPr id="10" name="Date Placeholder 9">
            <a:extLst>
              <a:ext uri="{FF2B5EF4-FFF2-40B4-BE49-F238E27FC236}">
                <a16:creationId xmlns:a16="http://schemas.microsoft.com/office/drawing/2014/main" id="{068D3E16-0F50-0818-E956-9B384127EE23}"/>
              </a:ext>
            </a:extLst>
          </p:cNvPr>
          <p:cNvSpPr>
            <a:spLocks noGrp="1"/>
          </p:cNvSpPr>
          <p:nvPr>
            <p:ph type="dt" sz="half" idx="16"/>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8239566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300">
          <p15:clr>
            <a:srgbClr val="F26B43"/>
          </p15:clr>
        </p15:guide>
        <p15:guide id="2" orient="horz" pos="2065">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60000" y="1706400"/>
            <a:ext cx="5644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86488" y="1706400"/>
            <a:ext cx="564515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8" name="Date Placeholder 5">
            <a:extLst>
              <a:ext uri="{FF2B5EF4-FFF2-40B4-BE49-F238E27FC236}">
                <a16:creationId xmlns:a16="http://schemas.microsoft.com/office/drawing/2014/main" id="{332BF6A4-9BF1-056B-A89D-ECE67D5722BB}"/>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pic>
        <p:nvPicPr>
          <p:cNvPr id="14" name="bjClassifierImageBottom">
            <a:extLst>
              <a:ext uri="{FF2B5EF4-FFF2-40B4-BE49-F238E27FC236}">
                <a16:creationId xmlns:a16="http://schemas.microsoft.com/office/drawing/2014/main" id="{BA99D56E-59E4-5B01-1D2F-B5D95158F6B2}"/>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63500" y="6442075"/>
            <a:ext cx="1428750" cy="352425"/>
          </a:xfrm>
          <a:prstGeom prst="rect">
            <a:avLst/>
          </a:prstGeom>
        </p:spPr>
      </p:pic>
    </p:spTree>
    <p:extLst>
      <p:ext uri="{BB962C8B-B14F-4D97-AF65-F5344CB8AC3E}">
        <p14:creationId xmlns:p14="http://schemas.microsoft.com/office/powerpoint/2010/main" val="1718514657"/>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074">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 Content w/eyebr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532798"/>
            <a:ext cx="7588800" cy="1167415"/>
          </a:xfrm>
        </p:spPr>
        <p:txBody>
          <a:bodyPr/>
          <a:lstStyle>
            <a:lvl1pPr>
              <a:defRPr>
                <a:solidFill>
                  <a:schemeClr val="accent3"/>
                </a:solidFill>
              </a:defRPr>
            </a:lvl1pPr>
          </a:lstStyle>
          <a:p>
            <a:r>
              <a:rPr lang="en-US" noProof="0"/>
              <a:t>Click to add title</a:t>
            </a:r>
            <a:endParaRPr lang="en-US"/>
          </a:p>
        </p:txBody>
      </p:sp>
      <p:sp>
        <p:nvSpPr>
          <p:cNvPr id="6" name="Text Placeholder eyebrow">
            <a:extLst>
              <a:ext uri="{FF2B5EF4-FFF2-40B4-BE49-F238E27FC236}">
                <a16:creationId xmlns:a16="http://schemas.microsoft.com/office/drawing/2014/main" id="{A6F7E782-EEB2-33F5-CD9D-EC84094E1665}"/>
              </a:ext>
            </a:extLst>
          </p:cNvPr>
          <p:cNvSpPr>
            <a:spLocks noGrp="1"/>
          </p:cNvSpPr>
          <p:nvPr>
            <p:ph type="body" sz="quarter" idx="19" hasCustomPrompt="1"/>
          </p:nvPr>
        </p:nvSpPr>
        <p:spPr>
          <a:xfrm>
            <a:off x="360000" y="295200"/>
            <a:ext cx="7588800" cy="234779"/>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3" name="Content Placeholder 2"/>
          <p:cNvSpPr>
            <a:spLocks noGrp="1"/>
          </p:cNvSpPr>
          <p:nvPr>
            <p:ph idx="1" hasCustomPrompt="1"/>
          </p:nvPr>
        </p:nvSpPr>
        <p:spPr>
          <a:xfrm>
            <a:off x="360000" y="1706400"/>
            <a:ext cx="5644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86488" y="1706400"/>
            <a:ext cx="5644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8" name="Date Placeholder 5">
            <a:extLst>
              <a:ext uri="{FF2B5EF4-FFF2-40B4-BE49-F238E27FC236}">
                <a16:creationId xmlns:a16="http://schemas.microsoft.com/office/drawing/2014/main" id="{EAA52E40-F354-587D-F2CC-1E9A25B8812B}"/>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74802758"/>
      </p:ext>
    </p:extLst>
  </p:cSld>
  <p:clrMapOvr>
    <a:masterClrMapping/>
  </p:clrMapOvr>
  <p:extLst>
    <p:ext uri="{DCECCB84-F9BA-43D5-87BE-67443E8EF086}">
      <p15:sldGuideLst xmlns:p15="http://schemas.microsoft.com/office/powerpoint/2012/main">
        <p15:guide id="1" orient="horz" pos="1071">
          <p15:clr>
            <a:srgbClr val="F26B43"/>
          </p15:clr>
        </p15:guide>
        <p15:guide id="2" orient="horz" pos="33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59999"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243999"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8128000"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BAE18DD2-0A52-CF1E-670A-B123A2589299}"/>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872749026"/>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074">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 Content w/eyebr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532798"/>
            <a:ext cx="7588800" cy="1167415"/>
          </a:xfrm>
        </p:spPr>
        <p:txBody>
          <a:bodyPr/>
          <a:lstStyle>
            <a:lvl1pPr>
              <a:defRPr>
                <a:solidFill>
                  <a:schemeClr val="accent3"/>
                </a:solidFill>
              </a:defRPr>
            </a:lvl1pPr>
          </a:lstStyle>
          <a:p>
            <a:r>
              <a:rPr lang="en-US" noProof="0"/>
              <a:t>Click to add title</a:t>
            </a:r>
            <a:endParaRPr lang="en-US"/>
          </a:p>
        </p:txBody>
      </p:sp>
      <p:sp>
        <p:nvSpPr>
          <p:cNvPr id="6" name="Text Placeholder eyebrow">
            <a:extLst>
              <a:ext uri="{FF2B5EF4-FFF2-40B4-BE49-F238E27FC236}">
                <a16:creationId xmlns:a16="http://schemas.microsoft.com/office/drawing/2014/main" id="{A6F7E782-EEB2-33F5-CD9D-EC84094E1665}"/>
              </a:ext>
            </a:extLst>
          </p:cNvPr>
          <p:cNvSpPr>
            <a:spLocks noGrp="1"/>
          </p:cNvSpPr>
          <p:nvPr>
            <p:ph type="body" sz="quarter" idx="19" hasCustomPrompt="1"/>
          </p:nvPr>
        </p:nvSpPr>
        <p:spPr>
          <a:xfrm>
            <a:off x="360000" y="295200"/>
            <a:ext cx="7588800" cy="234779"/>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3" name="Content Placeholder 2"/>
          <p:cNvSpPr>
            <a:spLocks noGrp="1"/>
          </p:cNvSpPr>
          <p:nvPr>
            <p:ph idx="1" hasCustomPrompt="1"/>
          </p:nvPr>
        </p:nvSpPr>
        <p:spPr>
          <a:xfrm>
            <a:off x="360000"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244400"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8" name="Content Placeholder 3">
            <a:extLst>
              <a:ext uri="{FF2B5EF4-FFF2-40B4-BE49-F238E27FC236}">
                <a16:creationId xmlns:a16="http://schemas.microsoft.com/office/drawing/2014/main" id="{DFBABCC5-94E5-5B1E-9A94-449E76472BB5}"/>
              </a:ext>
            </a:extLst>
          </p:cNvPr>
          <p:cNvSpPr>
            <a:spLocks noGrp="1"/>
          </p:cNvSpPr>
          <p:nvPr>
            <p:ph sz="half" idx="20" hasCustomPrompt="1"/>
          </p:nvPr>
        </p:nvSpPr>
        <p:spPr>
          <a:xfrm>
            <a:off x="8128800"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317E4AB4-6FC5-07E1-4D9A-0F42F3A4CFCB}"/>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908579242"/>
      </p:ext>
    </p:extLst>
  </p:cSld>
  <p:clrMapOvr>
    <a:masterClrMapping/>
  </p:clrMapOvr>
  <p:extLst>
    <p:ext uri="{DCECCB84-F9BA-43D5-87BE-67443E8EF086}">
      <p15:sldGuideLst xmlns:p15="http://schemas.microsoft.com/office/powerpoint/2012/main">
        <p15:guide id="1" orient="horz" pos="1071">
          <p15:clr>
            <a:srgbClr val="F26B43"/>
          </p15:clr>
        </p15:guide>
        <p15:guide id="2" orient="horz" pos="336">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59999" y="1706400"/>
            <a:ext cx="2732451"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273576"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6187102"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12" name="Content Placeholder 3">
            <a:extLst>
              <a:ext uri="{FF2B5EF4-FFF2-40B4-BE49-F238E27FC236}">
                <a16:creationId xmlns:a16="http://schemas.microsoft.com/office/drawing/2014/main" id="{405546E1-7BF8-F03B-5530-1D7898C62B33}"/>
              </a:ext>
            </a:extLst>
          </p:cNvPr>
          <p:cNvSpPr>
            <a:spLocks noGrp="1"/>
          </p:cNvSpPr>
          <p:nvPr>
            <p:ph sz="half" idx="21" hasCustomPrompt="1"/>
          </p:nvPr>
        </p:nvSpPr>
        <p:spPr>
          <a:xfrm>
            <a:off x="9100629"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9" name="Date Placeholder 5">
            <a:extLst>
              <a:ext uri="{FF2B5EF4-FFF2-40B4-BE49-F238E27FC236}">
                <a16:creationId xmlns:a16="http://schemas.microsoft.com/office/drawing/2014/main" id="{DA80C984-4F5B-9988-EC8E-5895C912ED2A}"/>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758867808"/>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074">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Content w/eyebr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532798"/>
            <a:ext cx="7588800" cy="1167415"/>
          </a:xfrm>
        </p:spPr>
        <p:txBody>
          <a:bodyPr/>
          <a:lstStyle>
            <a:lvl1pPr>
              <a:defRPr>
                <a:solidFill>
                  <a:schemeClr val="accent3"/>
                </a:solidFill>
              </a:defRPr>
            </a:lvl1pPr>
          </a:lstStyle>
          <a:p>
            <a:r>
              <a:rPr lang="en-US" noProof="0"/>
              <a:t>Click to add title</a:t>
            </a:r>
            <a:endParaRPr lang="en-US"/>
          </a:p>
        </p:txBody>
      </p:sp>
      <p:sp>
        <p:nvSpPr>
          <p:cNvPr id="6" name="Text Placeholder eyebrow">
            <a:extLst>
              <a:ext uri="{FF2B5EF4-FFF2-40B4-BE49-F238E27FC236}">
                <a16:creationId xmlns:a16="http://schemas.microsoft.com/office/drawing/2014/main" id="{A6F7E782-EEB2-33F5-CD9D-EC84094E1665}"/>
              </a:ext>
            </a:extLst>
          </p:cNvPr>
          <p:cNvSpPr>
            <a:spLocks noGrp="1"/>
          </p:cNvSpPr>
          <p:nvPr>
            <p:ph type="body" sz="quarter" idx="19" hasCustomPrompt="1"/>
          </p:nvPr>
        </p:nvSpPr>
        <p:spPr>
          <a:xfrm>
            <a:off x="360000" y="295200"/>
            <a:ext cx="7588800" cy="234779"/>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3" name="Content Placeholder 2"/>
          <p:cNvSpPr>
            <a:spLocks noGrp="1"/>
          </p:cNvSpPr>
          <p:nvPr>
            <p:ph idx="1" hasCustomPrompt="1"/>
          </p:nvPr>
        </p:nvSpPr>
        <p:spPr>
          <a:xfrm>
            <a:off x="360000"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273600"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8" name="Content Placeholder 3">
            <a:extLst>
              <a:ext uri="{FF2B5EF4-FFF2-40B4-BE49-F238E27FC236}">
                <a16:creationId xmlns:a16="http://schemas.microsoft.com/office/drawing/2014/main" id="{DFBABCC5-94E5-5B1E-9A94-449E76472BB5}"/>
              </a:ext>
            </a:extLst>
          </p:cNvPr>
          <p:cNvSpPr>
            <a:spLocks noGrp="1"/>
          </p:cNvSpPr>
          <p:nvPr>
            <p:ph sz="half" idx="20" hasCustomPrompt="1"/>
          </p:nvPr>
        </p:nvSpPr>
        <p:spPr>
          <a:xfrm>
            <a:off x="6187200"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9" name="Content Placeholder 3">
            <a:extLst>
              <a:ext uri="{FF2B5EF4-FFF2-40B4-BE49-F238E27FC236}">
                <a16:creationId xmlns:a16="http://schemas.microsoft.com/office/drawing/2014/main" id="{B675280F-D86E-F890-AC2F-16E5DEA2266B}"/>
              </a:ext>
            </a:extLst>
          </p:cNvPr>
          <p:cNvSpPr>
            <a:spLocks noGrp="1"/>
          </p:cNvSpPr>
          <p:nvPr>
            <p:ph sz="half" idx="21" hasCustomPrompt="1"/>
          </p:nvPr>
        </p:nvSpPr>
        <p:spPr>
          <a:xfrm>
            <a:off x="9100800"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10" name="Date Placeholder 5">
            <a:extLst>
              <a:ext uri="{FF2B5EF4-FFF2-40B4-BE49-F238E27FC236}">
                <a16:creationId xmlns:a16="http://schemas.microsoft.com/office/drawing/2014/main" id="{8A3C6522-4F6A-67B8-A38C-659A2169DBA1}"/>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208816506"/>
      </p:ext>
    </p:extLst>
  </p:cSld>
  <p:clrMapOvr>
    <a:masterClrMapping/>
  </p:clrMapOvr>
  <p:extLst>
    <p:ext uri="{DCECCB84-F9BA-43D5-87BE-67443E8EF086}">
      <p15:sldGuideLst xmlns:p15="http://schemas.microsoft.com/office/powerpoint/2012/main">
        <p15:guide id="1" orient="horz" pos="1071">
          <p15:clr>
            <a:srgbClr val="F26B43"/>
          </p15:clr>
        </p15:guide>
        <p15:guide id="2" orient="horz" pos="336">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0ECCECB8-4D60-8302-C8AB-D211D01FF556}"/>
              </a:ext>
            </a:extLst>
          </p:cNvPr>
          <p:cNvSpPr>
            <a:spLocks noGrp="1" noRot="1" noMove="1" noResize="1" noEditPoints="1" noAdjustHandles="1" noChangeArrowheads="1" noChangeShapeType="1"/>
          </p:cNvSpPr>
          <p:nvPr userDrawn="1"/>
        </p:nvSpPr>
        <p:spPr bwMode="white">
          <a:xfrm>
            <a:off x="2736000" y="6063916"/>
            <a:ext cx="1868400" cy="794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6" name="Picture 15" descr="A person running outside with trees in the background&#10;&#10;Description automatically generated">
            <a:extLst>
              <a:ext uri="{FF2B5EF4-FFF2-40B4-BE49-F238E27FC236}">
                <a16:creationId xmlns:a16="http://schemas.microsoft.com/office/drawing/2014/main" id="{E4E4CDCB-EB51-4C6A-47E5-BAD8F63220BC}"/>
              </a:ext>
            </a:extLst>
          </p:cNvPr>
          <p:cNvPicPr>
            <a:picLocks noGrp="1" noRot="1" noChangeAspect="1" noMove="1" noResize="1" noEditPoints="1" noAdjustHandles="1" noChangeArrowheads="1" noChangeShapeType="1" noCrop="1"/>
          </p:cNvPicPr>
          <p:nvPr userDrawn="1"/>
        </p:nvPicPr>
        <p:blipFill rotWithShape="1">
          <a:blip r:embed="rId2">
            <a:alphaModFix/>
            <a:extLst>
              <a:ext uri="{28A0092B-C50C-407E-A947-70E740481C1C}">
                <a14:useLocalDpi xmlns:a14="http://schemas.microsoft.com/office/drawing/2010/main" val="0"/>
              </a:ext>
            </a:extLst>
          </a:blip>
          <a:srcRect l="1513" t="2124" r="37351" b="16994"/>
          <a:stretch/>
        </p:blipFill>
        <p:spPr>
          <a:xfrm>
            <a:off x="4394200" y="0"/>
            <a:ext cx="7798562" cy="6857873"/>
          </a:xfrm>
          <a:custGeom>
            <a:avLst/>
            <a:gdLst>
              <a:gd name="connsiteX0" fmla="*/ 4145915 w 7798562"/>
              <a:gd name="connsiteY0" fmla="*/ 0 h 6857873"/>
              <a:gd name="connsiteX1" fmla="*/ 7798562 w 7798562"/>
              <a:gd name="connsiteY1" fmla="*/ 0 h 6857873"/>
              <a:gd name="connsiteX2" fmla="*/ 7798562 w 7798562"/>
              <a:gd name="connsiteY2" fmla="*/ 6857873 h 6857873"/>
              <a:gd name="connsiteX3" fmla="*/ 21209 w 7798562"/>
              <a:gd name="connsiteY3" fmla="*/ 6857873 h 6857873"/>
              <a:gd name="connsiteX4" fmla="*/ 0 w 7798562"/>
              <a:gd name="connsiteY4" fmla="*/ 6672072 h 6857873"/>
              <a:gd name="connsiteX5" fmla="*/ 0 w 7798562"/>
              <a:gd name="connsiteY5" fmla="*/ 4185158 h 6857873"/>
              <a:gd name="connsiteX6" fmla="*/ 828929 w 7798562"/>
              <a:gd name="connsiteY6" fmla="*/ 3356229 h 6857873"/>
              <a:gd name="connsiteX7" fmla="*/ 3523234 w 7798562"/>
              <a:gd name="connsiteY7" fmla="*/ 3356229 h 6857873"/>
              <a:gd name="connsiteX8" fmla="*/ 4144899 w 7798562"/>
              <a:gd name="connsiteY8" fmla="*/ 2734564 h 6857873"/>
              <a:gd name="connsiteX9" fmla="*/ 4144899 w 7798562"/>
              <a:gd name="connsiteY9" fmla="*/ 40386 h 6857873"/>
              <a:gd name="connsiteX10" fmla="*/ 4145915 w 7798562"/>
              <a:gd name="connsiteY10" fmla="*/ 0 h 6857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98562" h="6857873">
                <a:moveTo>
                  <a:pt x="4145915" y="0"/>
                </a:moveTo>
                <a:lnTo>
                  <a:pt x="7798562" y="0"/>
                </a:lnTo>
                <a:lnTo>
                  <a:pt x="7798562" y="6857873"/>
                </a:lnTo>
                <a:lnTo>
                  <a:pt x="21209" y="6857873"/>
                </a:lnTo>
                <a:cubicBezTo>
                  <a:pt x="7493" y="6798183"/>
                  <a:pt x="0" y="6735953"/>
                  <a:pt x="0" y="6672072"/>
                </a:cubicBezTo>
                <a:lnTo>
                  <a:pt x="0" y="4185158"/>
                </a:lnTo>
                <a:cubicBezTo>
                  <a:pt x="0" y="3727323"/>
                  <a:pt x="371094" y="3356229"/>
                  <a:pt x="828929" y="3356229"/>
                </a:cubicBezTo>
                <a:lnTo>
                  <a:pt x="3523234" y="3356229"/>
                </a:lnTo>
                <a:cubicBezTo>
                  <a:pt x="3866515" y="3356229"/>
                  <a:pt x="4144899" y="3077972"/>
                  <a:pt x="4144899" y="2734564"/>
                </a:cubicBezTo>
                <a:lnTo>
                  <a:pt x="4144899" y="40386"/>
                </a:lnTo>
                <a:cubicBezTo>
                  <a:pt x="4144899" y="26797"/>
                  <a:pt x="4145280" y="13335"/>
                  <a:pt x="4145915" y="0"/>
                </a:cubicBezTo>
                <a:close/>
              </a:path>
            </a:pathLst>
          </a:custGeom>
        </p:spPr>
      </p:pic>
      <p:sp>
        <p:nvSpPr>
          <p:cNvPr id="6" name="Title 5">
            <a:extLst>
              <a:ext uri="{FF2B5EF4-FFF2-40B4-BE49-F238E27FC236}">
                <a16:creationId xmlns:a16="http://schemas.microsoft.com/office/drawing/2014/main" id="{AADA00A3-1949-BBC2-B834-FFE8121ED8D9}"/>
              </a:ext>
            </a:extLst>
          </p:cNvPr>
          <p:cNvSpPr>
            <a:spLocks noGrp="1"/>
          </p:cNvSpPr>
          <p:nvPr>
            <p:ph type="title" hasCustomPrompt="1"/>
          </p:nvPr>
        </p:nvSpPr>
        <p:spPr>
          <a:xfrm>
            <a:off x="360000" y="295200"/>
            <a:ext cx="7588800" cy="469910"/>
          </a:xfrm>
        </p:spPr>
        <p:txBody>
          <a:bodyPr/>
          <a:lstStyle/>
          <a:p>
            <a:r>
              <a:rPr lang="en-US" noProof="0"/>
              <a:t>Click to add title</a:t>
            </a:r>
            <a:endParaRPr lang="en-US"/>
          </a:p>
        </p:txBody>
      </p:sp>
      <p:sp>
        <p:nvSpPr>
          <p:cNvPr id="9" name="Text Placeholder sub">
            <a:extLst>
              <a:ext uri="{FF2B5EF4-FFF2-40B4-BE49-F238E27FC236}">
                <a16:creationId xmlns:a16="http://schemas.microsoft.com/office/drawing/2014/main" id="{6624D307-17AE-B860-B6BF-FBF2952BA7BA}"/>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60000" y="1706400"/>
            <a:ext cx="37040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4" name="Text Placeholder notes">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749200"/>
            <a:ext cx="3704000" cy="288000"/>
          </a:xfrm>
        </p:spPr>
        <p:txBody>
          <a:bodyPr anchor="b"/>
          <a:lstStyle>
            <a:lvl1pPr marL="0" indent="0">
              <a:buNone/>
              <a:defRPr sz="900" i="1">
                <a:solidFill>
                  <a:schemeClr val="tx1"/>
                </a:solidFill>
              </a:defRPr>
            </a:lvl1pPr>
          </a:lstStyle>
          <a:p>
            <a:pPr lvl="0"/>
            <a:r>
              <a:rPr lang="en-US"/>
              <a:t>Insert notes</a:t>
            </a:r>
          </a:p>
        </p:txBody>
      </p:sp>
      <p:sp>
        <p:nvSpPr>
          <p:cNvPr id="11" name="Legal dynamic" descr="{&quot;templafy&quot;:{&quot;id&quot;:&quot;6906e94d-b096-4344-8bb9-c15c1859a695&quot;}}" title="Form.Cigna_Confidentiality.EvernorthConfidentiality">
            <a:extLst>
              <a:ext uri="{FF2B5EF4-FFF2-40B4-BE49-F238E27FC236}">
                <a16:creationId xmlns:a16="http://schemas.microsoft.com/office/drawing/2014/main" id="{E9B1624F-A9FC-D14B-2D3A-07D3D3D27547}"/>
              </a:ext>
            </a:extLst>
          </p:cNvPr>
          <p:cNvSpPr/>
          <p:nvPr userDrawn="1"/>
        </p:nvSpPr>
        <p:spPr bwMode="white">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bg1"/>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8" name="Internal Stamp dynamic" descr="{&quot;templafy&quot;:{&quot;id&quot;:&quot;61e17075-b135-4f74-b91f-7aef1d48e85b&quot;}}" title="Form.Cigna_Confidentiality.Cigna_confidentiality">
            <a:extLst>
              <a:ext uri="{FF2B5EF4-FFF2-40B4-BE49-F238E27FC236}">
                <a16:creationId xmlns:a16="http://schemas.microsoft.com/office/drawing/2014/main" id="{35F424C0-6D5A-E30A-9A89-A857AF37A9A3}"/>
              </a:ext>
            </a:extLst>
          </p:cNvPr>
          <p:cNvSpPr/>
          <p:nvPr userDrawn="1"/>
        </p:nvSpPr>
        <p:spPr>
          <a:xfrm>
            <a:off x="2844000" y="6216565"/>
            <a:ext cx="140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accent3"/>
                </a:solidFill>
                <a:effectLst/>
                <a:latin typeface="Arial Narrow" panose="020B0604020202020204" pitchFamily="34" charset="0"/>
                <a:ea typeface="+mn-ea"/>
                <a:cs typeface="+mn-cs"/>
              </a:rPr>
              <a:t>For internal use only. Use and distribution limited solely to authorized personnel.</a:t>
            </a:r>
          </a:p>
        </p:txBody>
      </p:sp>
      <p:sp>
        <p:nvSpPr>
          <p:cNvPr id="5" name="Slide Number Placeholder 4">
            <a:extLst>
              <a:ext uri="{FF2B5EF4-FFF2-40B4-BE49-F238E27FC236}">
                <a16:creationId xmlns:a16="http://schemas.microsoft.com/office/drawing/2014/main" id="{18DB4F76-CF7B-A1C3-7AF9-A6971FBEC67D}"/>
              </a:ext>
            </a:extLst>
          </p:cNvPr>
          <p:cNvSpPr>
            <a:spLocks noGrp="1"/>
          </p:cNvSpPr>
          <p:nvPr>
            <p:ph type="sldNum" sz="quarter" idx="18"/>
          </p:nvPr>
        </p:nvSpPr>
        <p:spPr bwMode="white"/>
        <p:txBody>
          <a:bodyPr/>
          <a:lstStyle>
            <a:lvl1pPr>
              <a:defRPr>
                <a:solidFill>
                  <a:schemeClr val="bg1"/>
                </a:solidFill>
              </a:defRPr>
            </a:lvl1pPr>
          </a:lstStyle>
          <a:p>
            <a:fld id="{23AA811B-2EBD-4900-905E-5BE206449611}" type="slidenum">
              <a:rPr lang="en-US" smtClean="0"/>
              <a:pPr/>
              <a:t>‹#›</a:t>
            </a:fld>
            <a:endParaRPr lang="en-US"/>
          </a:p>
        </p:txBody>
      </p:sp>
      <p:sp>
        <p:nvSpPr>
          <p:cNvPr id="2" name="Date Placeholder 5">
            <a:extLst>
              <a:ext uri="{FF2B5EF4-FFF2-40B4-BE49-F238E27FC236}">
                <a16:creationId xmlns:a16="http://schemas.microsoft.com/office/drawing/2014/main" id="{EA0CABE2-A2F0-F1C1-C34A-95396013C8A7}"/>
              </a:ext>
            </a:extLst>
          </p:cNvPr>
          <p:cNvSpPr>
            <a:spLocks noGrp="1"/>
          </p:cNvSpPr>
          <p:nvPr>
            <p:ph type="dt" sz="half" idx="13"/>
          </p:nvPr>
        </p:nvSpPr>
        <p:spPr>
          <a:xfrm>
            <a:off x="10630800" y="6364800"/>
            <a:ext cx="691200" cy="180000"/>
          </a:xfrm>
        </p:spPr>
        <p:txBody>
          <a:bodyPr/>
          <a:lstStyle>
            <a:lvl1pPr>
              <a:defRPr>
                <a:solidFill>
                  <a:schemeClr val="bg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563478334"/>
      </p:ext>
    </p:extLst>
  </p:cSld>
  <p:clrMapOvr>
    <a:masterClrMapping/>
  </p:clrMapOvr>
  <p:extLst>
    <p:ext uri="{DCECCB84-F9BA-43D5-87BE-67443E8EF086}">
      <p15:sldGuideLst xmlns:p15="http://schemas.microsoft.com/office/powerpoint/2012/main">
        <p15:guide id="1" orient="horz" pos="1074">
          <p15:clr>
            <a:srgbClr val="F26B43"/>
          </p15:clr>
        </p15:guide>
        <p15:guide id="2" orient="horz" pos="486">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 Content and Image">
    <p:spTree>
      <p:nvGrpSpPr>
        <p:cNvPr id="1" name=""/>
        <p:cNvGrpSpPr/>
        <p:nvPr/>
      </p:nvGrpSpPr>
      <p:grpSpPr>
        <a:xfrm>
          <a:off x="0" y="0"/>
          <a:ext cx="0" cy="0"/>
          <a:chOff x="0" y="0"/>
          <a:chExt cx="0" cy="0"/>
        </a:xfrm>
      </p:grpSpPr>
      <p:sp>
        <p:nvSpPr>
          <p:cNvPr id="7" name="Picture Placeholder 17">
            <a:extLst>
              <a:ext uri="{FF2B5EF4-FFF2-40B4-BE49-F238E27FC236}">
                <a16:creationId xmlns:a16="http://schemas.microsoft.com/office/drawing/2014/main" id="{BE3027AD-94E9-A768-4C15-96C5746FB951}"/>
              </a:ext>
            </a:extLst>
          </p:cNvPr>
          <p:cNvSpPr>
            <a:spLocks noGrp="1"/>
          </p:cNvSpPr>
          <p:nvPr>
            <p:ph type="pic" sz="quarter" idx="20"/>
          </p:nvPr>
        </p:nvSpPr>
        <p:spPr>
          <a:xfrm>
            <a:off x="8128000" y="1772816"/>
            <a:ext cx="3706811" cy="4264384"/>
          </a:xfrm>
          <a:prstGeom prst="roundRect">
            <a:avLst>
              <a:gd name="adj" fmla="val 9634"/>
            </a:avLst>
          </a:prstGeom>
          <a:solidFill>
            <a:schemeClr val="bg1">
              <a:lumMod val="75000"/>
            </a:schemeClr>
          </a:solidFill>
        </p:spPr>
        <p:txBody>
          <a:bodyPr wrap="square" tIns="576000" anchor="ctr" anchorCtr="0">
            <a:noAutofit/>
          </a:bodyPr>
          <a:lstStyle>
            <a:lvl1pPr marL="0" indent="0" algn="ctr">
              <a:buNone/>
              <a:defRPr sz="1600">
                <a:solidFill>
                  <a:schemeClr val="tx1"/>
                </a:solidFill>
              </a:defRPr>
            </a:lvl1pPr>
          </a:lstStyle>
          <a:p>
            <a:r>
              <a:rPr lang="en-US"/>
              <a:t>Click icon to add picture</a:t>
            </a:r>
          </a:p>
        </p:txBody>
      </p:sp>
      <p:sp>
        <p:nvSpPr>
          <p:cNvPr id="6" name="Title 5">
            <a:extLst>
              <a:ext uri="{FF2B5EF4-FFF2-40B4-BE49-F238E27FC236}">
                <a16:creationId xmlns:a16="http://schemas.microsoft.com/office/drawing/2014/main" id="{AADA00A3-1949-BBC2-B834-FFE8121ED8D9}"/>
              </a:ext>
            </a:extLst>
          </p:cNvPr>
          <p:cNvSpPr>
            <a:spLocks noGrp="1"/>
          </p:cNvSpPr>
          <p:nvPr>
            <p:ph type="title" hasCustomPrompt="1"/>
          </p:nvPr>
        </p:nvSpPr>
        <p:spPr>
          <a:xfrm>
            <a:off x="360000" y="295200"/>
            <a:ext cx="7588800" cy="469910"/>
          </a:xfrm>
        </p:spPr>
        <p:txBody>
          <a:bodyPr/>
          <a:lstStyle/>
          <a:p>
            <a:r>
              <a:rPr lang="en-US" noProof="0"/>
              <a:t>Click to add title</a:t>
            </a:r>
            <a:endParaRPr lang="en-US"/>
          </a:p>
        </p:txBody>
      </p:sp>
      <p:sp>
        <p:nvSpPr>
          <p:cNvPr id="9" name="Text Placeholder sub">
            <a:extLst>
              <a:ext uri="{FF2B5EF4-FFF2-40B4-BE49-F238E27FC236}">
                <a16:creationId xmlns:a16="http://schemas.microsoft.com/office/drawing/2014/main" id="{6624D307-17AE-B860-B6BF-FBF2952BA7BA}"/>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60000" y="1706400"/>
            <a:ext cx="7588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4" name="Text Placeholder notes">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749200"/>
            <a:ext cx="75888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18DB4F76-CF7B-A1C3-7AF9-A6971FBEC67D}"/>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2" name="Date Placeholder 5">
            <a:extLst>
              <a:ext uri="{FF2B5EF4-FFF2-40B4-BE49-F238E27FC236}">
                <a16:creationId xmlns:a16="http://schemas.microsoft.com/office/drawing/2014/main" id="{33672438-1C88-3496-4AD8-2C3A351FCB31}"/>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779451355"/>
      </p:ext>
    </p:extLst>
  </p:cSld>
  <p:clrMapOvr>
    <a:masterClrMapping/>
  </p:clrMapOvr>
  <p:extLst>
    <p:ext uri="{DCECCB84-F9BA-43D5-87BE-67443E8EF086}">
      <p15:sldGuideLst xmlns:p15="http://schemas.microsoft.com/office/powerpoint/2012/main">
        <p15:guide id="1" orient="horz" pos="1074">
          <p15:clr>
            <a:srgbClr val="F26B43"/>
          </p15:clr>
        </p15:guide>
        <p15:guide id="2" orient="horz" pos="486">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 3 Content and Image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6CFF692D-A41B-5DAE-DC12-1E2A739A2195}"/>
              </a:ext>
            </a:extLst>
          </p:cNvPr>
          <p:cNvSpPr>
            <a:spLocks noGrp="1"/>
          </p:cNvSpPr>
          <p:nvPr>
            <p:ph type="pic" sz="quarter" idx="11"/>
          </p:nvPr>
        </p:nvSpPr>
        <p:spPr>
          <a:xfrm>
            <a:off x="358774" y="1493973"/>
            <a:ext cx="3704400" cy="2206800"/>
          </a:xfrm>
          <a:prstGeom prst="roundRect">
            <a:avLst>
              <a:gd name="adj" fmla="val 10792"/>
            </a:avLst>
          </a:prstGeom>
          <a:solidFill>
            <a:schemeClr val="bg1">
              <a:lumMod val="75000"/>
            </a:schemeClr>
          </a:solidFill>
        </p:spPr>
        <p:txBody>
          <a:bodyPr tIns="576000" anchor="ctr"/>
          <a:lstStyle>
            <a:lvl1pPr marL="0" indent="0" algn="ctr">
              <a:buNone/>
              <a:defRPr sz="1200">
                <a:solidFill>
                  <a:schemeClr val="tx1"/>
                </a:solidFill>
                <a:latin typeface="+mn-lt"/>
              </a:defRPr>
            </a:lvl1pPr>
          </a:lstStyle>
          <a:p>
            <a:r>
              <a:rPr lang="en-US"/>
              <a:t>Click icon to add picture</a:t>
            </a:r>
          </a:p>
        </p:txBody>
      </p:sp>
      <p:sp>
        <p:nvSpPr>
          <p:cNvPr id="13" name="Picture Placeholder 7">
            <a:extLst>
              <a:ext uri="{FF2B5EF4-FFF2-40B4-BE49-F238E27FC236}">
                <a16:creationId xmlns:a16="http://schemas.microsoft.com/office/drawing/2014/main" id="{8CD27472-1C1C-7DB5-8520-A778835F23D9}"/>
              </a:ext>
            </a:extLst>
          </p:cNvPr>
          <p:cNvSpPr>
            <a:spLocks noGrp="1"/>
          </p:cNvSpPr>
          <p:nvPr>
            <p:ph type="pic" sz="quarter" idx="21"/>
          </p:nvPr>
        </p:nvSpPr>
        <p:spPr>
          <a:xfrm>
            <a:off x="4243387" y="1493973"/>
            <a:ext cx="3704400" cy="2206800"/>
          </a:xfrm>
          <a:prstGeom prst="roundRect">
            <a:avLst>
              <a:gd name="adj" fmla="val 10792"/>
            </a:avLst>
          </a:prstGeom>
          <a:solidFill>
            <a:schemeClr val="bg1">
              <a:lumMod val="75000"/>
            </a:schemeClr>
          </a:solidFill>
        </p:spPr>
        <p:txBody>
          <a:bodyPr tIns="576000" anchor="ctr"/>
          <a:lstStyle>
            <a:lvl1pPr marL="0" indent="0" algn="ctr">
              <a:buNone/>
              <a:defRPr sz="1200">
                <a:solidFill>
                  <a:schemeClr val="tx1"/>
                </a:solidFill>
                <a:latin typeface="+mn-lt"/>
              </a:defRPr>
            </a:lvl1pPr>
          </a:lstStyle>
          <a:p>
            <a:r>
              <a:rPr lang="en-US"/>
              <a:t>Click icon to add picture</a:t>
            </a:r>
          </a:p>
        </p:txBody>
      </p:sp>
      <p:sp>
        <p:nvSpPr>
          <p:cNvPr id="14" name="Picture Placeholder 7">
            <a:extLst>
              <a:ext uri="{FF2B5EF4-FFF2-40B4-BE49-F238E27FC236}">
                <a16:creationId xmlns:a16="http://schemas.microsoft.com/office/drawing/2014/main" id="{85753AAB-BEA0-A5BA-56EA-816BE2951FEA}"/>
              </a:ext>
            </a:extLst>
          </p:cNvPr>
          <p:cNvSpPr>
            <a:spLocks noGrp="1"/>
          </p:cNvSpPr>
          <p:nvPr>
            <p:ph type="pic" sz="quarter" idx="22"/>
          </p:nvPr>
        </p:nvSpPr>
        <p:spPr>
          <a:xfrm>
            <a:off x="8128000" y="1493973"/>
            <a:ext cx="3704400" cy="2206800"/>
          </a:xfrm>
          <a:prstGeom prst="roundRect">
            <a:avLst>
              <a:gd name="adj" fmla="val 10792"/>
            </a:avLst>
          </a:prstGeom>
          <a:solidFill>
            <a:schemeClr val="bg1">
              <a:lumMod val="75000"/>
            </a:schemeClr>
          </a:solidFill>
        </p:spPr>
        <p:txBody>
          <a:bodyPr tIns="576000" anchor="ctr"/>
          <a:lstStyle>
            <a:lvl1pPr marL="0" indent="0" algn="ctr">
              <a:buNone/>
              <a:defRPr sz="1200">
                <a:solidFill>
                  <a:schemeClr val="tx1"/>
                </a:solidFill>
                <a:latin typeface="+mn-lt"/>
              </a:defRPr>
            </a:lvl1pPr>
          </a:lstStyle>
          <a:p>
            <a:r>
              <a:rPr lang="en-US"/>
              <a:t>Click icon to add picture</a:t>
            </a:r>
          </a:p>
        </p:txBody>
      </p:sp>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540000"/>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59999" y="4402111"/>
            <a:ext cx="3704400" cy="13462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5" name="Text Placeholder sub 2">
            <a:extLst>
              <a:ext uri="{FF2B5EF4-FFF2-40B4-BE49-F238E27FC236}">
                <a16:creationId xmlns:a16="http://schemas.microsoft.com/office/drawing/2014/main" id="{86CA2E7B-9B5A-23C0-3C0B-4E9778ED1A5A}"/>
              </a:ext>
            </a:extLst>
          </p:cNvPr>
          <p:cNvSpPr>
            <a:spLocks noGrp="1"/>
          </p:cNvSpPr>
          <p:nvPr>
            <p:ph type="body" sz="quarter" idx="23" hasCustomPrompt="1"/>
          </p:nvPr>
        </p:nvSpPr>
        <p:spPr>
          <a:xfrm>
            <a:off x="359998" y="4002454"/>
            <a:ext cx="3704400" cy="398096"/>
          </a:xfrm>
        </p:spPr>
        <p:txBody>
          <a:bodyPr anchor="t" anchorCtr="0"/>
          <a:lstStyle>
            <a:lvl1pPr marL="0" indent="0">
              <a:lnSpc>
                <a:spcPct val="100000"/>
              </a:lnSpc>
              <a:spcBef>
                <a:spcPts val="0"/>
              </a:spcBef>
              <a:spcAft>
                <a:spcPts val="0"/>
              </a:spcAft>
              <a:buNone/>
              <a:defRPr sz="1400" b="1" cap="none" spc="0" baseline="0">
                <a:solidFill>
                  <a:schemeClr val="accent3"/>
                </a:solidFill>
                <a:latin typeface="+mn-lt"/>
              </a:defRPr>
            </a:lvl1pPr>
          </a:lstStyle>
          <a:p>
            <a:pPr lvl="0"/>
            <a:r>
              <a:rPr lang="en-US"/>
              <a:t>Click to add sub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243387" y="4402111"/>
            <a:ext cx="3704400" cy="13462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6" name="Text Placeholder sub 3">
            <a:extLst>
              <a:ext uri="{FF2B5EF4-FFF2-40B4-BE49-F238E27FC236}">
                <a16:creationId xmlns:a16="http://schemas.microsoft.com/office/drawing/2014/main" id="{B8571102-3BDF-DF66-5A11-3465B3F62A1D}"/>
              </a:ext>
            </a:extLst>
          </p:cNvPr>
          <p:cNvSpPr>
            <a:spLocks noGrp="1"/>
          </p:cNvSpPr>
          <p:nvPr>
            <p:ph type="body" sz="quarter" idx="24" hasCustomPrompt="1"/>
          </p:nvPr>
        </p:nvSpPr>
        <p:spPr>
          <a:xfrm>
            <a:off x="4243387" y="4002454"/>
            <a:ext cx="3704400" cy="398096"/>
          </a:xfrm>
        </p:spPr>
        <p:txBody>
          <a:bodyPr anchor="t" anchorCtr="0"/>
          <a:lstStyle>
            <a:lvl1pPr marL="0" indent="0">
              <a:lnSpc>
                <a:spcPct val="100000"/>
              </a:lnSpc>
              <a:spcBef>
                <a:spcPts val="0"/>
              </a:spcBef>
              <a:spcAft>
                <a:spcPts val="0"/>
              </a:spcAft>
              <a:buNone/>
              <a:defRPr sz="1400" b="1" cap="none" spc="0" baseline="0">
                <a:solidFill>
                  <a:schemeClr val="accent3"/>
                </a:solidFill>
                <a:latin typeface="+mn-lt"/>
              </a:defRPr>
            </a:lvl1pPr>
          </a:lstStyle>
          <a:p>
            <a:pPr lvl="0"/>
            <a:r>
              <a:rPr lang="en-US"/>
              <a:t>Click to add subtitle</a:t>
            </a:r>
          </a:p>
        </p:txBody>
      </p:sp>
      <p:sp>
        <p:nvSpPr>
          <p:cNvPr id="8" name="Content Placeholder 4">
            <a:extLst>
              <a:ext uri="{FF2B5EF4-FFF2-40B4-BE49-F238E27FC236}">
                <a16:creationId xmlns:a16="http://schemas.microsoft.com/office/drawing/2014/main" id="{AB022DFF-8F16-4A61-9B0B-DD1E6316615B}"/>
              </a:ext>
            </a:extLst>
          </p:cNvPr>
          <p:cNvSpPr>
            <a:spLocks noGrp="1"/>
          </p:cNvSpPr>
          <p:nvPr>
            <p:ph sz="half" idx="20" hasCustomPrompt="1"/>
          </p:nvPr>
        </p:nvSpPr>
        <p:spPr>
          <a:xfrm>
            <a:off x="8128000" y="4402111"/>
            <a:ext cx="3704400" cy="13462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7" name="Text Placeholder sub 4">
            <a:extLst>
              <a:ext uri="{FF2B5EF4-FFF2-40B4-BE49-F238E27FC236}">
                <a16:creationId xmlns:a16="http://schemas.microsoft.com/office/drawing/2014/main" id="{C98340A6-A646-DE65-D0FA-EEA832AD3494}"/>
              </a:ext>
            </a:extLst>
          </p:cNvPr>
          <p:cNvSpPr>
            <a:spLocks noGrp="1"/>
          </p:cNvSpPr>
          <p:nvPr>
            <p:ph type="body" sz="quarter" idx="25" hasCustomPrompt="1"/>
          </p:nvPr>
        </p:nvSpPr>
        <p:spPr>
          <a:xfrm>
            <a:off x="8128000" y="4002454"/>
            <a:ext cx="3704400" cy="398096"/>
          </a:xfrm>
        </p:spPr>
        <p:txBody>
          <a:bodyPr anchor="t" anchorCtr="0"/>
          <a:lstStyle>
            <a:lvl1pPr marL="0" indent="0">
              <a:lnSpc>
                <a:spcPct val="100000"/>
              </a:lnSpc>
              <a:spcBef>
                <a:spcPts val="0"/>
              </a:spcBef>
              <a:spcAft>
                <a:spcPts val="0"/>
              </a:spcAft>
              <a:buNone/>
              <a:defRPr sz="1400" b="1" cap="none" spc="0" baseline="0">
                <a:solidFill>
                  <a:schemeClr val="accent3"/>
                </a:solidFill>
                <a:latin typeface="+mn-lt"/>
              </a:defRPr>
            </a:lvl1pPr>
          </a:lstStyle>
          <a:p>
            <a:pPr lvl="0"/>
            <a:r>
              <a:rPr lang="en-US"/>
              <a:t>Click to add subtitle</a:t>
            </a:r>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12" name="Slide Number Placeholder 11">
            <a:extLst>
              <a:ext uri="{FF2B5EF4-FFF2-40B4-BE49-F238E27FC236}">
                <a16:creationId xmlns:a16="http://schemas.microsoft.com/office/drawing/2014/main" id="{6866097F-7924-12BA-6CC4-9AFB2C875B44}"/>
              </a:ext>
            </a:extLst>
          </p:cNvPr>
          <p:cNvSpPr>
            <a:spLocks noGrp="1"/>
          </p:cNvSpPr>
          <p:nvPr>
            <p:ph type="sldNum" sz="quarter" idx="27"/>
          </p:nvPr>
        </p:nvSpPr>
        <p:spPr/>
        <p:txBody>
          <a:bodyPr/>
          <a:lstStyle/>
          <a:p>
            <a:fld id="{23AA811B-2EBD-4900-905E-5BE206449611}" type="slidenum">
              <a:rPr lang="en-US" smtClean="0"/>
              <a:pPr/>
              <a:t>‹#›</a:t>
            </a:fld>
            <a:endParaRPr lang="en-US"/>
          </a:p>
        </p:txBody>
      </p:sp>
      <p:sp>
        <p:nvSpPr>
          <p:cNvPr id="4" name="Date Placeholder 5">
            <a:extLst>
              <a:ext uri="{FF2B5EF4-FFF2-40B4-BE49-F238E27FC236}">
                <a16:creationId xmlns:a16="http://schemas.microsoft.com/office/drawing/2014/main" id="{271DA5B9-84E5-60DD-07EA-463953A67413}"/>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784458024"/>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940">
          <p15:clr>
            <a:srgbClr val="A4A3A4"/>
          </p15:clr>
        </p15:guide>
        <p15:guide id="3" orient="horz" pos="2331">
          <p15:clr>
            <a:srgbClr val="A4A3A4"/>
          </p15:clr>
        </p15:guide>
        <p15:guide id="4" orient="horz" pos="2518">
          <p15:clr>
            <a:srgbClr val="F26B43"/>
          </p15:clr>
        </p15:guide>
        <p15:guide id="5" orient="horz" pos="2772">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 4 col_content and ic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612000"/>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59999" y="2509594"/>
            <a:ext cx="2732451" cy="32387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273576" y="2509594"/>
            <a:ext cx="2732400" cy="32387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6187102" y="2509594"/>
            <a:ext cx="2732400" cy="32387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p:txBody>
      </p:sp>
      <p:sp>
        <p:nvSpPr>
          <p:cNvPr id="12" name="Content Placeholder 3">
            <a:extLst>
              <a:ext uri="{FF2B5EF4-FFF2-40B4-BE49-F238E27FC236}">
                <a16:creationId xmlns:a16="http://schemas.microsoft.com/office/drawing/2014/main" id="{405546E1-7BF8-F03B-5530-1D7898C62B33}"/>
              </a:ext>
            </a:extLst>
          </p:cNvPr>
          <p:cNvSpPr>
            <a:spLocks noGrp="1"/>
          </p:cNvSpPr>
          <p:nvPr>
            <p:ph sz="half" idx="21" hasCustomPrompt="1"/>
          </p:nvPr>
        </p:nvSpPr>
        <p:spPr>
          <a:xfrm>
            <a:off x="9100629" y="2509594"/>
            <a:ext cx="2732400" cy="32387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p:txBody>
      </p:sp>
      <p:sp>
        <p:nvSpPr>
          <p:cNvPr id="13" name="Content Placeholder 12">
            <a:extLst>
              <a:ext uri="{FF2B5EF4-FFF2-40B4-BE49-F238E27FC236}">
                <a16:creationId xmlns:a16="http://schemas.microsoft.com/office/drawing/2014/main" id="{F3234D57-AF53-E0DB-C937-D18B2FD0C742}"/>
              </a:ext>
            </a:extLst>
          </p:cNvPr>
          <p:cNvSpPr>
            <a:spLocks noGrp="1"/>
          </p:cNvSpPr>
          <p:nvPr>
            <p:ph sz="quarter" idx="22" hasCustomPrompt="1"/>
          </p:nvPr>
        </p:nvSpPr>
        <p:spPr>
          <a:xfrm>
            <a:off x="360000" y="1845281"/>
            <a:ext cx="540000" cy="540000"/>
          </a:xfrm>
        </p:spPr>
        <p:txBody>
          <a:bodyPr lIns="0" bIns="1404000"/>
          <a:lstStyle>
            <a:lvl1pPr marL="0" indent="0">
              <a:lnSpc>
                <a:spcPct val="80000"/>
              </a:lnSpc>
              <a:spcAft>
                <a:spcPts val="0"/>
              </a:spcAft>
              <a:buNone/>
              <a:defRPr sz="900"/>
            </a:lvl1pPr>
          </a:lstStyle>
          <a:p>
            <a:pPr lvl="0"/>
            <a:r>
              <a:rPr lang="en-US"/>
              <a:t>Click on Picture icon to insert icon</a:t>
            </a:r>
          </a:p>
        </p:txBody>
      </p:sp>
      <p:sp>
        <p:nvSpPr>
          <p:cNvPr id="14" name="Content Placeholder 12">
            <a:extLst>
              <a:ext uri="{FF2B5EF4-FFF2-40B4-BE49-F238E27FC236}">
                <a16:creationId xmlns:a16="http://schemas.microsoft.com/office/drawing/2014/main" id="{B95D790D-95CB-A96F-5C58-23F1105FE4B8}"/>
              </a:ext>
            </a:extLst>
          </p:cNvPr>
          <p:cNvSpPr>
            <a:spLocks noGrp="1"/>
          </p:cNvSpPr>
          <p:nvPr>
            <p:ph sz="quarter" idx="23" hasCustomPrompt="1"/>
          </p:nvPr>
        </p:nvSpPr>
        <p:spPr>
          <a:xfrm>
            <a:off x="3273576" y="1845281"/>
            <a:ext cx="540000" cy="540000"/>
          </a:xfrm>
        </p:spPr>
        <p:txBody>
          <a:bodyPr lIns="0" bIns="1404000"/>
          <a:lstStyle>
            <a:lvl1pPr marL="0" indent="0">
              <a:lnSpc>
                <a:spcPct val="80000"/>
              </a:lnSpc>
              <a:spcAft>
                <a:spcPts val="0"/>
              </a:spcAft>
              <a:buNone/>
              <a:defRPr sz="900"/>
            </a:lvl1pPr>
          </a:lstStyle>
          <a:p>
            <a:pPr lvl="0"/>
            <a:r>
              <a:rPr lang="en-US"/>
              <a:t>Click on Picture icon to insert icon</a:t>
            </a:r>
          </a:p>
        </p:txBody>
      </p:sp>
      <p:sp>
        <p:nvSpPr>
          <p:cNvPr id="15" name="Content Placeholder 12">
            <a:extLst>
              <a:ext uri="{FF2B5EF4-FFF2-40B4-BE49-F238E27FC236}">
                <a16:creationId xmlns:a16="http://schemas.microsoft.com/office/drawing/2014/main" id="{CA4F82EB-2F71-355A-EA48-B2286BC5B6BA}"/>
              </a:ext>
            </a:extLst>
          </p:cNvPr>
          <p:cNvSpPr>
            <a:spLocks noGrp="1"/>
          </p:cNvSpPr>
          <p:nvPr>
            <p:ph sz="quarter" idx="24" hasCustomPrompt="1"/>
          </p:nvPr>
        </p:nvSpPr>
        <p:spPr>
          <a:xfrm>
            <a:off x="6187102" y="1845281"/>
            <a:ext cx="540000" cy="540000"/>
          </a:xfrm>
        </p:spPr>
        <p:txBody>
          <a:bodyPr lIns="0" bIns="1404000"/>
          <a:lstStyle>
            <a:lvl1pPr marL="0" indent="0">
              <a:lnSpc>
                <a:spcPct val="80000"/>
              </a:lnSpc>
              <a:spcAft>
                <a:spcPts val="0"/>
              </a:spcAft>
              <a:buNone/>
              <a:defRPr sz="900"/>
            </a:lvl1pPr>
          </a:lstStyle>
          <a:p>
            <a:pPr lvl="0"/>
            <a:r>
              <a:rPr lang="en-US"/>
              <a:t>Click on Picture icon to insert icon</a:t>
            </a:r>
          </a:p>
        </p:txBody>
      </p:sp>
      <p:sp>
        <p:nvSpPr>
          <p:cNvPr id="16" name="Content Placeholder 12">
            <a:extLst>
              <a:ext uri="{FF2B5EF4-FFF2-40B4-BE49-F238E27FC236}">
                <a16:creationId xmlns:a16="http://schemas.microsoft.com/office/drawing/2014/main" id="{A894763A-0742-A455-9D20-0C9F741B396B}"/>
              </a:ext>
            </a:extLst>
          </p:cNvPr>
          <p:cNvSpPr>
            <a:spLocks noGrp="1"/>
          </p:cNvSpPr>
          <p:nvPr>
            <p:ph sz="quarter" idx="25" hasCustomPrompt="1"/>
          </p:nvPr>
        </p:nvSpPr>
        <p:spPr>
          <a:xfrm>
            <a:off x="9100629" y="1845281"/>
            <a:ext cx="540000" cy="540000"/>
          </a:xfrm>
        </p:spPr>
        <p:txBody>
          <a:bodyPr lIns="0" bIns="1404000"/>
          <a:lstStyle>
            <a:lvl1pPr marL="0" indent="0">
              <a:lnSpc>
                <a:spcPct val="80000"/>
              </a:lnSpc>
              <a:spcAft>
                <a:spcPts val="0"/>
              </a:spcAft>
              <a:buNone/>
              <a:defRPr sz="900"/>
            </a:lvl1pPr>
          </a:lstStyle>
          <a:p>
            <a:pPr lvl="0"/>
            <a:r>
              <a:rPr lang="en-US"/>
              <a:t>Click on Picture icon to insert icon</a:t>
            </a:r>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8E6734D4-4531-4A10-CCF3-192F908E1E63}"/>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567051143"/>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579">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Cover">
    <p:bg bwMode="ltGray">
      <p:bgRef idx="1001">
        <a:schemeClr val="bg1"/>
      </p:bgRef>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grpSp>
        <p:nvGrpSpPr>
          <p:cNvPr id="9" name="Group 8">
            <a:extLst>
              <a:ext uri="{FF2B5EF4-FFF2-40B4-BE49-F238E27FC236}">
                <a16:creationId xmlns:a16="http://schemas.microsoft.com/office/drawing/2014/main" id="{2739D3B2-2DC3-6A13-D2CB-AB1EC0712180}"/>
              </a:ext>
            </a:extLst>
          </p:cNvPr>
          <p:cNvGrpSpPr>
            <a:grpSpLocks noGrp="1" noUngrp="1" noRot="1" noMove="1" noResize="1"/>
          </p:cNvGrpSpPr>
          <p:nvPr userDrawn="1"/>
        </p:nvGrpSpPr>
        <p:grpSpPr>
          <a:xfrm>
            <a:off x="7656945" y="3014"/>
            <a:ext cx="4540580" cy="6858000"/>
            <a:chOff x="7656945" y="3014"/>
            <a:chExt cx="4540580" cy="6858000"/>
          </a:xfrm>
          <a:gradFill>
            <a:gsLst>
              <a:gs pos="15000">
                <a:schemeClr val="accent1"/>
              </a:gs>
              <a:gs pos="87000">
                <a:schemeClr val="accent3"/>
              </a:gs>
              <a:gs pos="43000">
                <a:srgbClr val="1FC7A2"/>
              </a:gs>
              <a:gs pos="70000">
                <a:schemeClr val="accent2"/>
              </a:gs>
            </a:gsLst>
            <a:lin ang="15600000" scaled="0"/>
          </a:gradFill>
        </p:grpSpPr>
        <p:sp>
          <p:nvSpPr>
            <p:cNvPr id="12" name="Freeform 4">
              <a:extLst>
                <a:ext uri="{FF2B5EF4-FFF2-40B4-BE49-F238E27FC236}">
                  <a16:creationId xmlns:a16="http://schemas.microsoft.com/office/drawing/2014/main" id="{B11DB509-DA27-D531-01C3-04AF2BAFE87F}"/>
                </a:ext>
              </a:extLst>
            </p:cNvPr>
            <p:cNvSpPr>
              <a:spLocks noGrp="1" noRot="1" noMove="1" noResize="1" noEditPoints="1" noAdjustHandles="1" noChangeArrowheads="1" noChangeShapeType="1"/>
            </p:cNvSpPr>
            <p:nvPr userDrawn="1"/>
          </p:nvSpPr>
          <p:spPr>
            <a:xfrm>
              <a:off x="7656945" y="3014"/>
              <a:ext cx="4535055" cy="4859491"/>
            </a:xfrm>
            <a:custGeom>
              <a:avLst/>
              <a:gdLst>
                <a:gd name="connsiteX0" fmla="*/ 2843841 w 4535055"/>
                <a:gd name="connsiteY0" fmla="*/ 0 h 4859491"/>
                <a:gd name="connsiteX1" fmla="*/ 4535055 w 4535055"/>
                <a:gd name="connsiteY1" fmla="*/ 0 h 4859491"/>
                <a:gd name="connsiteX2" fmla="*/ 4535055 w 4535055"/>
                <a:gd name="connsiteY2" fmla="*/ 2010314 h 4859491"/>
                <a:gd name="connsiteX3" fmla="*/ 3270417 w 4535055"/>
                <a:gd name="connsiteY3" fmla="*/ 2010314 h 4859491"/>
                <a:gd name="connsiteX4" fmla="*/ 2843841 w 4535055"/>
                <a:gd name="connsiteY4" fmla="*/ 2437691 h 4859491"/>
                <a:gd name="connsiteX5" fmla="*/ 2843841 w 4535055"/>
                <a:gd name="connsiteY5" fmla="*/ 4289656 h 4859491"/>
                <a:gd name="connsiteX6" fmla="*/ 2275073 w 4535055"/>
                <a:gd name="connsiteY6" fmla="*/ 4859491 h 4859491"/>
                <a:gd name="connsiteX7" fmla="*/ 568768 w 4535055"/>
                <a:gd name="connsiteY7" fmla="*/ 4859491 h 4859491"/>
                <a:gd name="connsiteX8" fmla="*/ 0 w 4535055"/>
                <a:gd name="connsiteY8" fmla="*/ 4289656 h 4859491"/>
                <a:gd name="connsiteX9" fmla="*/ 0 w 4535055"/>
                <a:gd name="connsiteY9" fmla="*/ 2580150 h 4859491"/>
                <a:gd name="connsiteX10" fmla="*/ 568768 w 4535055"/>
                <a:gd name="connsiteY10" fmla="*/ 2010314 h 4859491"/>
                <a:gd name="connsiteX11" fmla="*/ 2417265 w 4535055"/>
                <a:gd name="connsiteY11" fmla="*/ 2010314 h 4859491"/>
                <a:gd name="connsiteX12" fmla="*/ 2843841 w 4535055"/>
                <a:gd name="connsiteY12" fmla="*/ 1582937 h 4859491"/>
                <a:gd name="connsiteX13" fmla="*/ 2843841 w 4535055"/>
                <a:gd name="connsiteY13" fmla="*/ 0 h 485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5055" h="4859491">
                  <a:moveTo>
                    <a:pt x="2843841" y="0"/>
                  </a:moveTo>
                  <a:lnTo>
                    <a:pt x="4535055" y="0"/>
                  </a:lnTo>
                  <a:lnTo>
                    <a:pt x="4535055" y="2010314"/>
                  </a:lnTo>
                  <a:lnTo>
                    <a:pt x="3270417" y="2010314"/>
                  </a:lnTo>
                  <a:cubicBezTo>
                    <a:pt x="3034733" y="2010314"/>
                    <a:pt x="2843841" y="2201566"/>
                    <a:pt x="2843841" y="2437691"/>
                  </a:cubicBezTo>
                  <a:lnTo>
                    <a:pt x="2843841" y="4289656"/>
                  </a:lnTo>
                  <a:cubicBezTo>
                    <a:pt x="2843841" y="4657201"/>
                    <a:pt x="2526754" y="4859491"/>
                    <a:pt x="2275073" y="4859491"/>
                  </a:cubicBezTo>
                  <a:lnTo>
                    <a:pt x="568768" y="4859491"/>
                  </a:lnTo>
                  <a:cubicBezTo>
                    <a:pt x="254524" y="4859491"/>
                    <a:pt x="0" y="4604490"/>
                    <a:pt x="0" y="4289656"/>
                  </a:cubicBezTo>
                  <a:lnTo>
                    <a:pt x="0" y="2580150"/>
                  </a:lnTo>
                  <a:cubicBezTo>
                    <a:pt x="0" y="2265315"/>
                    <a:pt x="254524" y="2010314"/>
                    <a:pt x="568768" y="2010314"/>
                  </a:cubicBezTo>
                  <a:lnTo>
                    <a:pt x="2417265" y="2010314"/>
                  </a:lnTo>
                  <a:cubicBezTo>
                    <a:pt x="2652948" y="2010314"/>
                    <a:pt x="2843841" y="1819064"/>
                    <a:pt x="2843841" y="1582937"/>
                  </a:cubicBezTo>
                  <a:lnTo>
                    <a:pt x="284384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14" name="Freeform 7">
              <a:extLst>
                <a:ext uri="{FF2B5EF4-FFF2-40B4-BE49-F238E27FC236}">
                  <a16:creationId xmlns:a16="http://schemas.microsoft.com/office/drawing/2014/main" id="{DAE82D91-0672-12AA-37CB-18D734F8913D}"/>
                </a:ext>
              </a:extLst>
            </p:cNvPr>
            <p:cNvSpPr>
              <a:spLocks noGrp="1" noRot="1" noMove="1" noResize="1" noEditPoints="1" noAdjustHandles="1" noChangeArrowheads="1" noChangeShapeType="1"/>
            </p:cNvSpPr>
            <p:nvPr userDrawn="1"/>
          </p:nvSpPr>
          <p:spPr>
            <a:xfrm>
              <a:off x="10506313" y="4856155"/>
              <a:ext cx="1691212" cy="2004859"/>
            </a:xfrm>
            <a:custGeom>
              <a:avLst/>
              <a:gdLst>
                <a:gd name="connsiteX0" fmla="*/ 568768 w 1691212"/>
                <a:gd name="connsiteY0" fmla="*/ 0 h 2004859"/>
                <a:gd name="connsiteX1" fmla="*/ 1691212 w 1691212"/>
                <a:gd name="connsiteY1" fmla="*/ 0 h 2004859"/>
                <a:gd name="connsiteX2" fmla="*/ 1691212 w 1691212"/>
                <a:gd name="connsiteY2" fmla="*/ 2004859 h 2004859"/>
                <a:gd name="connsiteX3" fmla="*/ 0 w 1691212"/>
                <a:gd name="connsiteY3" fmla="*/ 2004859 h 2004859"/>
                <a:gd name="connsiteX4" fmla="*/ 0 w 1691212"/>
                <a:gd name="connsiteY4" fmla="*/ 568300 h 2004859"/>
                <a:gd name="connsiteX5" fmla="*/ 568768 w 1691212"/>
                <a:gd name="connsiteY5" fmla="*/ 0 h 200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1212" h="2004859">
                  <a:moveTo>
                    <a:pt x="568768" y="0"/>
                  </a:moveTo>
                  <a:lnTo>
                    <a:pt x="1691212" y="0"/>
                  </a:lnTo>
                  <a:lnTo>
                    <a:pt x="1691212" y="2004859"/>
                  </a:lnTo>
                  <a:lnTo>
                    <a:pt x="0" y="2004859"/>
                  </a:lnTo>
                  <a:lnTo>
                    <a:pt x="0" y="568300"/>
                  </a:lnTo>
                  <a:cubicBezTo>
                    <a:pt x="0" y="254316"/>
                    <a:pt x="254524" y="0"/>
                    <a:pt x="5687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sp>
        <p:nvSpPr>
          <p:cNvPr id="2" name="Title 1"/>
          <p:cNvSpPr>
            <a:spLocks noGrp="1"/>
          </p:cNvSpPr>
          <p:nvPr>
            <p:ph type="ctrTitle" hasCustomPrompt="1"/>
          </p:nvPr>
        </p:nvSpPr>
        <p:spPr>
          <a:xfrm>
            <a:off x="360000" y="1454400"/>
            <a:ext cx="5647100" cy="1820862"/>
          </a:xfrm>
          <a:noFill/>
        </p:spPr>
        <p:txBody>
          <a:bodyPr anchor="b" anchorCtr="0"/>
          <a:lstStyle>
            <a:lvl1pPr algn="l">
              <a:lnSpc>
                <a:spcPct val="85000"/>
              </a:lnSpc>
              <a:defRPr sz="6000" b="0">
                <a:solidFill>
                  <a:srgbClr val="035C67"/>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a:xfrm>
            <a:off x="360000" y="3654000"/>
            <a:ext cx="5647100" cy="2094338"/>
          </a:xfrm>
        </p:spPr>
        <p:txBody>
          <a:bodyPr/>
          <a:lstStyle>
            <a:lvl1pPr marL="0" indent="0">
              <a:lnSpc>
                <a:spcPct val="105000"/>
              </a:lnSpc>
              <a:buNone/>
              <a:defRPr sz="2200">
                <a:solidFill>
                  <a:srgbClr val="002F3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sp>
        <p:nvSpPr>
          <p:cNvPr id="19" name="Legal dynamic" descr="{&quot;templafy&quot;:{&quot;id&quot;:&quot;b9606230-cf5e-4c25-a7f3-ab922b1efc2f&quot;}}" title="Form.Cigna_Confidentiality.EvernorthConfidentiality">
            <a:extLst>
              <a:ext uri="{FF2B5EF4-FFF2-40B4-BE49-F238E27FC236}">
                <a16:creationId xmlns:a16="http://schemas.microsoft.com/office/drawing/2014/main" id="{6EA07B4F-970C-9789-F3C9-DFCC5454B43E}"/>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20" name="Internal Stamp dynamic" descr="{&quot;templafy&quot;:{&quot;id&quot;:&quot;cbdc2ed5-19a1-4810-92ad-bc9936c82758&quot;}}" title="Form.Cigna_Confidentiality.Cigna_confidentiality">
            <a:extLst>
              <a:ext uri="{FF2B5EF4-FFF2-40B4-BE49-F238E27FC236}">
                <a16:creationId xmlns:a16="http://schemas.microsoft.com/office/drawing/2014/main" id="{B7FA2C75-DA5A-041B-0FDA-4D604AE55EC5}"/>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5" name="Dynamic logo dark mint" descr="{&quot;templafy&quot;:{&quot;id&quot;:&quot;511f83d7-7858-419a-a465-cacbf6183770&quot;}}">
            <a:extLst>
              <a:ext uri="{FF2B5EF4-FFF2-40B4-BE49-F238E27FC236}">
                <a16:creationId xmlns:a16="http://schemas.microsoft.com/office/drawing/2014/main" id="{30006293-39B9-0EF9-6C51-54AB4667B1B0}"/>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8" name="Slide Number Placeholder 17">
            <a:extLst>
              <a:ext uri="{FF2B5EF4-FFF2-40B4-BE49-F238E27FC236}">
                <a16:creationId xmlns:a16="http://schemas.microsoft.com/office/drawing/2014/main" id="{B88AA168-1740-92EC-94D1-1EF09F5C2976}"/>
              </a:ext>
            </a:extLst>
          </p:cNvPr>
          <p:cNvSpPr>
            <a:spLocks noGrp="1"/>
          </p:cNvSpPr>
          <p:nvPr>
            <p:ph type="sldNum" sz="quarter" idx="15"/>
          </p:nvPr>
        </p:nvSpPr>
        <p:spPr/>
        <p:txBody>
          <a:bodyPr/>
          <a:lstStyle/>
          <a:p>
            <a:fld id="{23AA811B-2EBD-4900-905E-5BE206449611}" type="slidenum">
              <a:rPr lang="en-US" smtClean="0"/>
              <a:pPr/>
              <a:t>‹#›</a:t>
            </a:fld>
            <a:endParaRPr lang="en-US"/>
          </a:p>
        </p:txBody>
      </p:sp>
      <p:sp>
        <p:nvSpPr>
          <p:cNvPr id="4" name="Date Placeholder 3">
            <a:extLst>
              <a:ext uri="{FF2B5EF4-FFF2-40B4-BE49-F238E27FC236}">
                <a16:creationId xmlns:a16="http://schemas.microsoft.com/office/drawing/2014/main" id="{2C927D0F-9905-5F40-9C0F-A972289D79AF}"/>
              </a:ext>
            </a:extLst>
          </p:cNvPr>
          <p:cNvSpPr>
            <a:spLocks noGrp="1"/>
          </p:cNvSpPr>
          <p:nvPr>
            <p:ph type="dt" sz="half" idx="16"/>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21258275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302">
          <p15:clr>
            <a:srgbClr val="F26B43"/>
          </p15:clr>
        </p15:guide>
        <p15:guide id="2" orient="horz" pos="2063">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 4 col_content and ic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612000"/>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17" name="Text Placeholder 16">
            <a:extLst>
              <a:ext uri="{FF2B5EF4-FFF2-40B4-BE49-F238E27FC236}">
                <a16:creationId xmlns:a16="http://schemas.microsoft.com/office/drawing/2014/main" id="{3F4B2A4F-AE05-BB2D-2F94-020FF0E32648}"/>
              </a:ext>
            </a:extLst>
          </p:cNvPr>
          <p:cNvSpPr>
            <a:spLocks noGrp="1"/>
          </p:cNvSpPr>
          <p:nvPr>
            <p:ph type="body" sz="quarter" idx="26" hasCustomPrompt="1"/>
          </p:nvPr>
        </p:nvSpPr>
        <p:spPr>
          <a:xfrm>
            <a:off x="358775" y="2154677"/>
            <a:ext cx="2732400" cy="821886"/>
          </a:xfrm>
        </p:spPr>
        <p:txBody>
          <a:bodyPr/>
          <a:lstStyle>
            <a:lvl1pPr marL="0" indent="0">
              <a:lnSpc>
                <a:spcPct val="100000"/>
              </a:lnSpc>
              <a:spcBef>
                <a:spcPts val="0"/>
              </a:spcBef>
              <a:spcAft>
                <a:spcPts val="0"/>
              </a:spcAft>
              <a:buNone/>
              <a:defRPr sz="4800" b="0">
                <a:solidFill>
                  <a:schemeClr val="accent2"/>
                </a:solidFill>
                <a:latin typeface="+mn-lt"/>
              </a:defRPr>
            </a:lvl1pPr>
            <a:lvl2pPr marL="0" indent="0">
              <a:lnSpc>
                <a:spcPct val="100000"/>
              </a:lnSpc>
              <a:spcBef>
                <a:spcPts val="0"/>
              </a:spcBef>
              <a:spcAft>
                <a:spcPts val="0"/>
              </a:spcAft>
              <a:buNone/>
              <a:defRPr sz="4800" b="0">
                <a:solidFill>
                  <a:schemeClr val="accent2"/>
                </a:solidFill>
                <a:latin typeface="+mn-lt"/>
              </a:defRPr>
            </a:lvl2pPr>
            <a:lvl3pPr marL="0" indent="0">
              <a:lnSpc>
                <a:spcPct val="100000"/>
              </a:lnSpc>
              <a:spcBef>
                <a:spcPts val="0"/>
              </a:spcBef>
              <a:spcAft>
                <a:spcPts val="0"/>
              </a:spcAft>
              <a:buNone/>
              <a:defRPr sz="4800" b="0">
                <a:solidFill>
                  <a:schemeClr val="accent2"/>
                </a:solidFill>
                <a:latin typeface="+mn-lt"/>
              </a:defRPr>
            </a:lvl3pPr>
            <a:lvl4pPr marL="0">
              <a:lnSpc>
                <a:spcPct val="100000"/>
              </a:lnSpc>
              <a:spcBef>
                <a:spcPts val="0"/>
              </a:spcBef>
              <a:spcAft>
                <a:spcPts val="0"/>
              </a:spcAft>
              <a:buNone/>
              <a:defRPr sz="4800" b="0">
                <a:solidFill>
                  <a:schemeClr val="accent2"/>
                </a:solidFill>
                <a:latin typeface="+mn-lt"/>
              </a:defRPr>
            </a:lvl4pPr>
            <a:lvl5pPr marL="0">
              <a:lnSpc>
                <a:spcPct val="100000"/>
              </a:lnSpc>
              <a:spcBef>
                <a:spcPts val="0"/>
              </a:spcBef>
              <a:spcAft>
                <a:spcPts val="0"/>
              </a:spcAft>
              <a:buNone/>
              <a:defRPr sz="4800" b="0">
                <a:solidFill>
                  <a:schemeClr val="accent2"/>
                </a:solidFill>
                <a:latin typeface="+mn-lt"/>
              </a:defRPr>
            </a:lvl5pPr>
            <a:lvl6pPr marL="0" indent="0">
              <a:lnSpc>
                <a:spcPct val="100000"/>
              </a:lnSpc>
              <a:spcBef>
                <a:spcPts val="0"/>
              </a:spcBef>
              <a:spcAft>
                <a:spcPts val="0"/>
              </a:spcAft>
              <a:buNone/>
              <a:defRPr sz="4800" b="0">
                <a:solidFill>
                  <a:schemeClr val="accent2"/>
                </a:solidFill>
                <a:latin typeface="+mn-lt"/>
              </a:defRPr>
            </a:lvl6pPr>
            <a:lvl7pPr marL="0">
              <a:lnSpc>
                <a:spcPct val="100000"/>
              </a:lnSpc>
              <a:spcBef>
                <a:spcPts val="0"/>
              </a:spcBef>
              <a:spcAft>
                <a:spcPts val="0"/>
              </a:spcAft>
              <a:buNone/>
              <a:defRPr sz="4800" b="0">
                <a:solidFill>
                  <a:schemeClr val="accent2"/>
                </a:solidFill>
                <a:latin typeface="+mn-lt"/>
              </a:defRPr>
            </a:lvl7pPr>
            <a:lvl8pPr marL="0">
              <a:lnSpc>
                <a:spcPct val="100000"/>
              </a:lnSpc>
              <a:spcBef>
                <a:spcPts val="0"/>
              </a:spcBef>
              <a:spcAft>
                <a:spcPts val="0"/>
              </a:spcAft>
              <a:buNone/>
              <a:defRPr sz="4800" b="0">
                <a:solidFill>
                  <a:schemeClr val="accent2"/>
                </a:solidFill>
                <a:latin typeface="+mn-lt"/>
              </a:defRPr>
            </a:lvl8pPr>
            <a:lvl9pPr marL="0">
              <a:lnSpc>
                <a:spcPct val="100000"/>
              </a:lnSpc>
              <a:spcBef>
                <a:spcPts val="0"/>
              </a:spcBef>
              <a:spcAft>
                <a:spcPts val="0"/>
              </a:spcAft>
              <a:buNone/>
              <a:defRPr sz="4800" b="0">
                <a:solidFill>
                  <a:schemeClr val="accent2"/>
                </a:solidFill>
                <a:latin typeface="+mn-lt"/>
              </a:defRPr>
            </a:lvl9pPr>
          </a:lstStyle>
          <a:p>
            <a:pPr lvl="0"/>
            <a:r>
              <a:rPr lang="en-US" noProof="0"/>
              <a:t>xx%</a:t>
            </a:r>
            <a:endParaRPr lang="en-US"/>
          </a:p>
        </p:txBody>
      </p:sp>
      <p:sp>
        <p:nvSpPr>
          <p:cNvPr id="3" name="Content Placeholder 2"/>
          <p:cNvSpPr>
            <a:spLocks noGrp="1"/>
          </p:cNvSpPr>
          <p:nvPr>
            <p:ph idx="1" hasCustomPrompt="1"/>
          </p:nvPr>
        </p:nvSpPr>
        <p:spPr>
          <a:xfrm>
            <a:off x="359999" y="2979997"/>
            <a:ext cx="2732400" cy="27683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Text Placeholder 16">
            <a:extLst>
              <a:ext uri="{FF2B5EF4-FFF2-40B4-BE49-F238E27FC236}">
                <a16:creationId xmlns:a16="http://schemas.microsoft.com/office/drawing/2014/main" id="{603EA300-63BA-5800-5BBF-278E313431B8}"/>
              </a:ext>
            </a:extLst>
          </p:cNvPr>
          <p:cNvSpPr>
            <a:spLocks noGrp="1"/>
          </p:cNvSpPr>
          <p:nvPr>
            <p:ph type="body" sz="quarter" idx="27" hasCustomPrompt="1"/>
          </p:nvPr>
        </p:nvSpPr>
        <p:spPr>
          <a:xfrm>
            <a:off x="3273576" y="2154677"/>
            <a:ext cx="2732400" cy="821886"/>
          </a:xfrm>
        </p:spPr>
        <p:txBody>
          <a:bodyPr/>
          <a:lstStyle>
            <a:lvl1pPr marL="0" indent="0">
              <a:lnSpc>
                <a:spcPct val="100000"/>
              </a:lnSpc>
              <a:spcBef>
                <a:spcPts val="0"/>
              </a:spcBef>
              <a:spcAft>
                <a:spcPts val="0"/>
              </a:spcAft>
              <a:buNone/>
              <a:defRPr sz="4800" b="0">
                <a:solidFill>
                  <a:schemeClr val="accent2"/>
                </a:solidFill>
                <a:latin typeface="+mn-lt"/>
              </a:defRPr>
            </a:lvl1pPr>
            <a:lvl2pPr marL="0" indent="0">
              <a:lnSpc>
                <a:spcPct val="100000"/>
              </a:lnSpc>
              <a:spcBef>
                <a:spcPts val="0"/>
              </a:spcBef>
              <a:spcAft>
                <a:spcPts val="0"/>
              </a:spcAft>
              <a:buNone/>
              <a:defRPr sz="4800" b="0">
                <a:solidFill>
                  <a:schemeClr val="accent2"/>
                </a:solidFill>
                <a:latin typeface="+mn-lt"/>
              </a:defRPr>
            </a:lvl2pPr>
            <a:lvl3pPr marL="0" indent="0">
              <a:lnSpc>
                <a:spcPct val="100000"/>
              </a:lnSpc>
              <a:spcBef>
                <a:spcPts val="0"/>
              </a:spcBef>
              <a:spcAft>
                <a:spcPts val="0"/>
              </a:spcAft>
              <a:buNone/>
              <a:defRPr sz="4800" b="0">
                <a:solidFill>
                  <a:schemeClr val="accent2"/>
                </a:solidFill>
                <a:latin typeface="+mn-lt"/>
              </a:defRPr>
            </a:lvl3pPr>
            <a:lvl4pPr marL="0">
              <a:lnSpc>
                <a:spcPct val="100000"/>
              </a:lnSpc>
              <a:spcBef>
                <a:spcPts val="0"/>
              </a:spcBef>
              <a:spcAft>
                <a:spcPts val="0"/>
              </a:spcAft>
              <a:buNone/>
              <a:defRPr sz="4800" b="0">
                <a:solidFill>
                  <a:schemeClr val="accent2"/>
                </a:solidFill>
                <a:latin typeface="+mn-lt"/>
              </a:defRPr>
            </a:lvl4pPr>
            <a:lvl5pPr marL="0">
              <a:lnSpc>
                <a:spcPct val="100000"/>
              </a:lnSpc>
              <a:spcBef>
                <a:spcPts val="0"/>
              </a:spcBef>
              <a:spcAft>
                <a:spcPts val="0"/>
              </a:spcAft>
              <a:buNone/>
              <a:defRPr sz="4800" b="0">
                <a:solidFill>
                  <a:schemeClr val="accent2"/>
                </a:solidFill>
                <a:latin typeface="+mn-lt"/>
              </a:defRPr>
            </a:lvl5pPr>
            <a:lvl6pPr marL="0" indent="0">
              <a:lnSpc>
                <a:spcPct val="100000"/>
              </a:lnSpc>
              <a:spcBef>
                <a:spcPts val="0"/>
              </a:spcBef>
              <a:spcAft>
                <a:spcPts val="0"/>
              </a:spcAft>
              <a:buNone/>
              <a:defRPr sz="4800" b="0">
                <a:solidFill>
                  <a:schemeClr val="accent2"/>
                </a:solidFill>
                <a:latin typeface="+mn-lt"/>
              </a:defRPr>
            </a:lvl6pPr>
            <a:lvl7pPr marL="0">
              <a:lnSpc>
                <a:spcPct val="100000"/>
              </a:lnSpc>
              <a:spcBef>
                <a:spcPts val="0"/>
              </a:spcBef>
              <a:spcAft>
                <a:spcPts val="0"/>
              </a:spcAft>
              <a:buNone/>
              <a:defRPr sz="4800" b="0">
                <a:solidFill>
                  <a:schemeClr val="accent2"/>
                </a:solidFill>
                <a:latin typeface="+mn-lt"/>
              </a:defRPr>
            </a:lvl7pPr>
            <a:lvl8pPr marL="0">
              <a:lnSpc>
                <a:spcPct val="100000"/>
              </a:lnSpc>
              <a:spcBef>
                <a:spcPts val="0"/>
              </a:spcBef>
              <a:spcAft>
                <a:spcPts val="0"/>
              </a:spcAft>
              <a:buNone/>
              <a:defRPr sz="4800" b="0">
                <a:solidFill>
                  <a:schemeClr val="accent2"/>
                </a:solidFill>
                <a:latin typeface="+mn-lt"/>
              </a:defRPr>
            </a:lvl8pPr>
            <a:lvl9pPr marL="0">
              <a:lnSpc>
                <a:spcPct val="100000"/>
              </a:lnSpc>
              <a:spcBef>
                <a:spcPts val="0"/>
              </a:spcBef>
              <a:spcAft>
                <a:spcPts val="0"/>
              </a:spcAft>
              <a:buNone/>
              <a:defRPr sz="4800" b="0">
                <a:solidFill>
                  <a:schemeClr val="accent2"/>
                </a:solidFill>
                <a:latin typeface="+mn-lt"/>
              </a:defRPr>
            </a:lvl9pPr>
          </a:lstStyle>
          <a:p>
            <a:pPr lvl="0"/>
            <a:r>
              <a:rPr lang="en-US" noProof="0"/>
              <a:t>xx%</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273576" y="2979997"/>
            <a:ext cx="2732400" cy="27683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9" name="Text Placeholder 16">
            <a:extLst>
              <a:ext uri="{FF2B5EF4-FFF2-40B4-BE49-F238E27FC236}">
                <a16:creationId xmlns:a16="http://schemas.microsoft.com/office/drawing/2014/main" id="{E72393E9-306A-9C81-F8BD-59FAE7359ED1}"/>
              </a:ext>
            </a:extLst>
          </p:cNvPr>
          <p:cNvSpPr>
            <a:spLocks noGrp="1"/>
          </p:cNvSpPr>
          <p:nvPr>
            <p:ph type="body" sz="quarter" idx="28" hasCustomPrompt="1"/>
          </p:nvPr>
        </p:nvSpPr>
        <p:spPr>
          <a:xfrm>
            <a:off x="6187102" y="2154677"/>
            <a:ext cx="2732400" cy="821886"/>
          </a:xfrm>
        </p:spPr>
        <p:txBody>
          <a:bodyPr/>
          <a:lstStyle>
            <a:lvl1pPr marL="0" indent="0">
              <a:lnSpc>
                <a:spcPct val="100000"/>
              </a:lnSpc>
              <a:spcBef>
                <a:spcPts val="0"/>
              </a:spcBef>
              <a:spcAft>
                <a:spcPts val="0"/>
              </a:spcAft>
              <a:buNone/>
              <a:defRPr sz="4800" b="0">
                <a:solidFill>
                  <a:schemeClr val="accent2"/>
                </a:solidFill>
                <a:latin typeface="+mn-lt"/>
              </a:defRPr>
            </a:lvl1pPr>
            <a:lvl2pPr marL="0" indent="0">
              <a:lnSpc>
                <a:spcPct val="100000"/>
              </a:lnSpc>
              <a:spcBef>
                <a:spcPts val="0"/>
              </a:spcBef>
              <a:spcAft>
                <a:spcPts val="0"/>
              </a:spcAft>
              <a:buNone/>
              <a:defRPr sz="4800" b="0">
                <a:solidFill>
                  <a:schemeClr val="accent2"/>
                </a:solidFill>
                <a:latin typeface="+mn-lt"/>
              </a:defRPr>
            </a:lvl2pPr>
            <a:lvl3pPr marL="0" indent="0">
              <a:lnSpc>
                <a:spcPct val="100000"/>
              </a:lnSpc>
              <a:spcBef>
                <a:spcPts val="0"/>
              </a:spcBef>
              <a:spcAft>
                <a:spcPts val="0"/>
              </a:spcAft>
              <a:buNone/>
              <a:defRPr sz="4800" b="0">
                <a:solidFill>
                  <a:schemeClr val="accent2"/>
                </a:solidFill>
                <a:latin typeface="+mn-lt"/>
              </a:defRPr>
            </a:lvl3pPr>
            <a:lvl4pPr marL="0">
              <a:lnSpc>
                <a:spcPct val="100000"/>
              </a:lnSpc>
              <a:spcBef>
                <a:spcPts val="0"/>
              </a:spcBef>
              <a:spcAft>
                <a:spcPts val="0"/>
              </a:spcAft>
              <a:buNone/>
              <a:defRPr sz="4800" b="0">
                <a:solidFill>
                  <a:schemeClr val="accent2"/>
                </a:solidFill>
                <a:latin typeface="+mn-lt"/>
              </a:defRPr>
            </a:lvl4pPr>
            <a:lvl5pPr marL="0">
              <a:lnSpc>
                <a:spcPct val="100000"/>
              </a:lnSpc>
              <a:spcBef>
                <a:spcPts val="0"/>
              </a:spcBef>
              <a:spcAft>
                <a:spcPts val="0"/>
              </a:spcAft>
              <a:buNone/>
              <a:defRPr sz="4800" b="0">
                <a:solidFill>
                  <a:schemeClr val="accent2"/>
                </a:solidFill>
                <a:latin typeface="+mn-lt"/>
              </a:defRPr>
            </a:lvl5pPr>
            <a:lvl6pPr marL="0" indent="0">
              <a:lnSpc>
                <a:spcPct val="100000"/>
              </a:lnSpc>
              <a:spcBef>
                <a:spcPts val="0"/>
              </a:spcBef>
              <a:spcAft>
                <a:spcPts val="0"/>
              </a:spcAft>
              <a:buNone/>
              <a:defRPr sz="4800" b="0">
                <a:solidFill>
                  <a:schemeClr val="accent2"/>
                </a:solidFill>
                <a:latin typeface="+mn-lt"/>
              </a:defRPr>
            </a:lvl6pPr>
            <a:lvl7pPr marL="0">
              <a:lnSpc>
                <a:spcPct val="100000"/>
              </a:lnSpc>
              <a:spcBef>
                <a:spcPts val="0"/>
              </a:spcBef>
              <a:spcAft>
                <a:spcPts val="0"/>
              </a:spcAft>
              <a:buNone/>
              <a:defRPr sz="4800" b="0">
                <a:solidFill>
                  <a:schemeClr val="accent2"/>
                </a:solidFill>
                <a:latin typeface="+mn-lt"/>
              </a:defRPr>
            </a:lvl7pPr>
            <a:lvl8pPr marL="0">
              <a:lnSpc>
                <a:spcPct val="100000"/>
              </a:lnSpc>
              <a:spcBef>
                <a:spcPts val="0"/>
              </a:spcBef>
              <a:spcAft>
                <a:spcPts val="0"/>
              </a:spcAft>
              <a:buNone/>
              <a:defRPr sz="4800" b="0">
                <a:solidFill>
                  <a:schemeClr val="accent2"/>
                </a:solidFill>
                <a:latin typeface="+mn-lt"/>
              </a:defRPr>
            </a:lvl8pPr>
            <a:lvl9pPr marL="0">
              <a:lnSpc>
                <a:spcPct val="100000"/>
              </a:lnSpc>
              <a:spcBef>
                <a:spcPts val="0"/>
              </a:spcBef>
              <a:spcAft>
                <a:spcPts val="0"/>
              </a:spcAft>
              <a:buNone/>
              <a:defRPr sz="4800" b="0">
                <a:solidFill>
                  <a:schemeClr val="accent2"/>
                </a:solidFill>
                <a:latin typeface="+mn-lt"/>
              </a:defRPr>
            </a:lvl9pPr>
          </a:lstStyle>
          <a:p>
            <a:pPr lvl="0"/>
            <a:r>
              <a:rPr lang="en-US" noProof="0"/>
              <a:t>xx%</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6187102" y="2979997"/>
            <a:ext cx="2732400" cy="27683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0" name="Text Placeholder 16">
            <a:extLst>
              <a:ext uri="{FF2B5EF4-FFF2-40B4-BE49-F238E27FC236}">
                <a16:creationId xmlns:a16="http://schemas.microsoft.com/office/drawing/2014/main" id="{D6CEF1E1-F623-58C2-6C50-CBD9A2B313C8}"/>
              </a:ext>
            </a:extLst>
          </p:cNvPr>
          <p:cNvSpPr>
            <a:spLocks noGrp="1"/>
          </p:cNvSpPr>
          <p:nvPr>
            <p:ph type="body" sz="quarter" idx="29" hasCustomPrompt="1"/>
          </p:nvPr>
        </p:nvSpPr>
        <p:spPr>
          <a:xfrm>
            <a:off x="9100629" y="2154677"/>
            <a:ext cx="2732400" cy="821886"/>
          </a:xfrm>
        </p:spPr>
        <p:txBody>
          <a:bodyPr/>
          <a:lstStyle>
            <a:lvl1pPr marL="0" indent="0">
              <a:lnSpc>
                <a:spcPct val="100000"/>
              </a:lnSpc>
              <a:spcBef>
                <a:spcPts val="0"/>
              </a:spcBef>
              <a:spcAft>
                <a:spcPts val="0"/>
              </a:spcAft>
              <a:buNone/>
              <a:defRPr sz="4800" b="0">
                <a:solidFill>
                  <a:schemeClr val="accent2"/>
                </a:solidFill>
                <a:latin typeface="+mn-lt"/>
              </a:defRPr>
            </a:lvl1pPr>
            <a:lvl2pPr marL="0" indent="0">
              <a:lnSpc>
                <a:spcPct val="100000"/>
              </a:lnSpc>
              <a:spcBef>
                <a:spcPts val="0"/>
              </a:spcBef>
              <a:spcAft>
                <a:spcPts val="0"/>
              </a:spcAft>
              <a:buNone/>
              <a:defRPr sz="4800" b="0">
                <a:solidFill>
                  <a:schemeClr val="accent2"/>
                </a:solidFill>
                <a:latin typeface="+mn-lt"/>
              </a:defRPr>
            </a:lvl2pPr>
            <a:lvl3pPr marL="0" indent="0">
              <a:lnSpc>
                <a:spcPct val="100000"/>
              </a:lnSpc>
              <a:spcBef>
                <a:spcPts val="0"/>
              </a:spcBef>
              <a:spcAft>
                <a:spcPts val="0"/>
              </a:spcAft>
              <a:buNone/>
              <a:defRPr sz="4800" b="0">
                <a:solidFill>
                  <a:schemeClr val="accent2"/>
                </a:solidFill>
                <a:latin typeface="+mn-lt"/>
              </a:defRPr>
            </a:lvl3pPr>
            <a:lvl4pPr marL="0">
              <a:lnSpc>
                <a:spcPct val="100000"/>
              </a:lnSpc>
              <a:spcBef>
                <a:spcPts val="0"/>
              </a:spcBef>
              <a:spcAft>
                <a:spcPts val="0"/>
              </a:spcAft>
              <a:buNone/>
              <a:defRPr sz="4800" b="0">
                <a:solidFill>
                  <a:schemeClr val="accent2"/>
                </a:solidFill>
                <a:latin typeface="+mn-lt"/>
              </a:defRPr>
            </a:lvl4pPr>
            <a:lvl5pPr marL="0">
              <a:lnSpc>
                <a:spcPct val="100000"/>
              </a:lnSpc>
              <a:spcBef>
                <a:spcPts val="0"/>
              </a:spcBef>
              <a:spcAft>
                <a:spcPts val="0"/>
              </a:spcAft>
              <a:buNone/>
              <a:defRPr sz="4800" b="0">
                <a:solidFill>
                  <a:schemeClr val="accent2"/>
                </a:solidFill>
                <a:latin typeface="+mn-lt"/>
              </a:defRPr>
            </a:lvl5pPr>
            <a:lvl6pPr marL="0" indent="0">
              <a:lnSpc>
                <a:spcPct val="100000"/>
              </a:lnSpc>
              <a:spcBef>
                <a:spcPts val="0"/>
              </a:spcBef>
              <a:spcAft>
                <a:spcPts val="0"/>
              </a:spcAft>
              <a:buNone/>
              <a:defRPr sz="4800" b="0">
                <a:solidFill>
                  <a:schemeClr val="accent2"/>
                </a:solidFill>
                <a:latin typeface="+mn-lt"/>
              </a:defRPr>
            </a:lvl6pPr>
            <a:lvl7pPr marL="0">
              <a:lnSpc>
                <a:spcPct val="100000"/>
              </a:lnSpc>
              <a:spcBef>
                <a:spcPts val="0"/>
              </a:spcBef>
              <a:spcAft>
                <a:spcPts val="0"/>
              </a:spcAft>
              <a:buNone/>
              <a:defRPr sz="4800" b="0">
                <a:solidFill>
                  <a:schemeClr val="accent2"/>
                </a:solidFill>
                <a:latin typeface="+mn-lt"/>
              </a:defRPr>
            </a:lvl7pPr>
            <a:lvl8pPr marL="0">
              <a:lnSpc>
                <a:spcPct val="100000"/>
              </a:lnSpc>
              <a:spcBef>
                <a:spcPts val="0"/>
              </a:spcBef>
              <a:spcAft>
                <a:spcPts val="0"/>
              </a:spcAft>
              <a:buNone/>
              <a:defRPr sz="4800" b="0">
                <a:solidFill>
                  <a:schemeClr val="accent2"/>
                </a:solidFill>
                <a:latin typeface="+mn-lt"/>
              </a:defRPr>
            </a:lvl8pPr>
            <a:lvl9pPr marL="0">
              <a:lnSpc>
                <a:spcPct val="100000"/>
              </a:lnSpc>
              <a:spcBef>
                <a:spcPts val="0"/>
              </a:spcBef>
              <a:spcAft>
                <a:spcPts val="0"/>
              </a:spcAft>
              <a:buNone/>
              <a:defRPr sz="4800" b="0">
                <a:solidFill>
                  <a:schemeClr val="accent2"/>
                </a:solidFill>
                <a:latin typeface="+mn-lt"/>
              </a:defRPr>
            </a:lvl9pPr>
          </a:lstStyle>
          <a:p>
            <a:pPr lvl="0"/>
            <a:r>
              <a:rPr lang="en-US" noProof="0"/>
              <a:t>xx%</a:t>
            </a:r>
            <a:endParaRPr lang="en-US"/>
          </a:p>
        </p:txBody>
      </p:sp>
      <p:sp>
        <p:nvSpPr>
          <p:cNvPr id="12" name="Content Placeholder 3">
            <a:extLst>
              <a:ext uri="{FF2B5EF4-FFF2-40B4-BE49-F238E27FC236}">
                <a16:creationId xmlns:a16="http://schemas.microsoft.com/office/drawing/2014/main" id="{405546E1-7BF8-F03B-5530-1D7898C62B33}"/>
              </a:ext>
            </a:extLst>
          </p:cNvPr>
          <p:cNvSpPr>
            <a:spLocks noGrp="1"/>
          </p:cNvSpPr>
          <p:nvPr>
            <p:ph sz="half" idx="21" hasCustomPrompt="1"/>
          </p:nvPr>
        </p:nvSpPr>
        <p:spPr>
          <a:xfrm>
            <a:off x="9100629" y="2979997"/>
            <a:ext cx="2732400" cy="27683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Content Placeholder 12">
            <a:extLst>
              <a:ext uri="{FF2B5EF4-FFF2-40B4-BE49-F238E27FC236}">
                <a16:creationId xmlns:a16="http://schemas.microsoft.com/office/drawing/2014/main" id="{F3234D57-AF53-E0DB-C937-D18B2FD0C742}"/>
              </a:ext>
            </a:extLst>
          </p:cNvPr>
          <p:cNvSpPr>
            <a:spLocks noGrp="1"/>
          </p:cNvSpPr>
          <p:nvPr>
            <p:ph sz="quarter" idx="22" hasCustomPrompt="1"/>
          </p:nvPr>
        </p:nvSpPr>
        <p:spPr>
          <a:xfrm>
            <a:off x="360000" y="1755182"/>
            <a:ext cx="360000" cy="360000"/>
          </a:xfrm>
        </p:spPr>
        <p:txBody>
          <a:bodyPr lIns="0" bIns="1656000"/>
          <a:lstStyle>
            <a:lvl1pPr marL="0" indent="0">
              <a:lnSpc>
                <a:spcPct val="80000"/>
              </a:lnSpc>
              <a:spcAft>
                <a:spcPts val="0"/>
              </a:spcAft>
              <a:buNone/>
              <a:defRPr sz="900"/>
            </a:lvl1pPr>
          </a:lstStyle>
          <a:p>
            <a:pPr lvl="0"/>
            <a:r>
              <a:rPr lang="en-US"/>
              <a:t>Click on Picture icon to insert icon</a:t>
            </a:r>
          </a:p>
        </p:txBody>
      </p:sp>
      <p:sp>
        <p:nvSpPr>
          <p:cNvPr id="14" name="Content Placeholder 12">
            <a:extLst>
              <a:ext uri="{FF2B5EF4-FFF2-40B4-BE49-F238E27FC236}">
                <a16:creationId xmlns:a16="http://schemas.microsoft.com/office/drawing/2014/main" id="{B95D790D-95CB-A96F-5C58-23F1105FE4B8}"/>
              </a:ext>
            </a:extLst>
          </p:cNvPr>
          <p:cNvSpPr>
            <a:spLocks noGrp="1"/>
          </p:cNvSpPr>
          <p:nvPr>
            <p:ph sz="quarter" idx="23" hasCustomPrompt="1"/>
          </p:nvPr>
        </p:nvSpPr>
        <p:spPr>
          <a:xfrm>
            <a:off x="3273576" y="1755182"/>
            <a:ext cx="360000" cy="360000"/>
          </a:xfrm>
        </p:spPr>
        <p:txBody>
          <a:bodyPr lIns="0" bIns="1656000"/>
          <a:lstStyle>
            <a:lvl1pPr marL="0" indent="0">
              <a:lnSpc>
                <a:spcPct val="80000"/>
              </a:lnSpc>
              <a:spcAft>
                <a:spcPts val="0"/>
              </a:spcAft>
              <a:buNone/>
              <a:defRPr sz="900"/>
            </a:lvl1pPr>
          </a:lstStyle>
          <a:p>
            <a:pPr lvl="0"/>
            <a:r>
              <a:rPr lang="en-US"/>
              <a:t>Click on Picture icon to insert icon</a:t>
            </a:r>
          </a:p>
        </p:txBody>
      </p:sp>
      <p:sp>
        <p:nvSpPr>
          <p:cNvPr id="15" name="Content Placeholder 12">
            <a:extLst>
              <a:ext uri="{FF2B5EF4-FFF2-40B4-BE49-F238E27FC236}">
                <a16:creationId xmlns:a16="http://schemas.microsoft.com/office/drawing/2014/main" id="{CA4F82EB-2F71-355A-EA48-B2286BC5B6BA}"/>
              </a:ext>
            </a:extLst>
          </p:cNvPr>
          <p:cNvSpPr>
            <a:spLocks noGrp="1"/>
          </p:cNvSpPr>
          <p:nvPr>
            <p:ph sz="quarter" idx="24" hasCustomPrompt="1"/>
          </p:nvPr>
        </p:nvSpPr>
        <p:spPr>
          <a:xfrm>
            <a:off x="6187102" y="1755182"/>
            <a:ext cx="360000" cy="360000"/>
          </a:xfrm>
        </p:spPr>
        <p:txBody>
          <a:bodyPr lIns="0" bIns="1656000"/>
          <a:lstStyle>
            <a:lvl1pPr marL="0" indent="0">
              <a:lnSpc>
                <a:spcPct val="80000"/>
              </a:lnSpc>
              <a:spcAft>
                <a:spcPts val="0"/>
              </a:spcAft>
              <a:buNone/>
              <a:defRPr sz="900"/>
            </a:lvl1pPr>
          </a:lstStyle>
          <a:p>
            <a:pPr lvl="0"/>
            <a:r>
              <a:rPr lang="en-US"/>
              <a:t>Click on Picture icon to insert icon</a:t>
            </a:r>
          </a:p>
        </p:txBody>
      </p:sp>
      <p:sp>
        <p:nvSpPr>
          <p:cNvPr id="16" name="Content Placeholder 12">
            <a:extLst>
              <a:ext uri="{FF2B5EF4-FFF2-40B4-BE49-F238E27FC236}">
                <a16:creationId xmlns:a16="http://schemas.microsoft.com/office/drawing/2014/main" id="{A894763A-0742-A455-9D20-0C9F741B396B}"/>
              </a:ext>
            </a:extLst>
          </p:cNvPr>
          <p:cNvSpPr>
            <a:spLocks noGrp="1"/>
          </p:cNvSpPr>
          <p:nvPr>
            <p:ph sz="quarter" idx="25" hasCustomPrompt="1"/>
          </p:nvPr>
        </p:nvSpPr>
        <p:spPr>
          <a:xfrm>
            <a:off x="9100629" y="1755182"/>
            <a:ext cx="360000" cy="360000"/>
          </a:xfrm>
        </p:spPr>
        <p:txBody>
          <a:bodyPr lIns="0" bIns="1656000"/>
          <a:lstStyle>
            <a:lvl1pPr marL="0" indent="0">
              <a:lnSpc>
                <a:spcPct val="80000"/>
              </a:lnSpc>
              <a:spcAft>
                <a:spcPts val="0"/>
              </a:spcAft>
              <a:buNone/>
              <a:defRPr sz="900"/>
            </a:lvl1pPr>
          </a:lstStyle>
          <a:p>
            <a:pPr lvl="0"/>
            <a:r>
              <a:rPr lang="en-US"/>
              <a:t>Click on Picture icon to insert icon</a:t>
            </a:r>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F1B747F8-E7C1-4577-DBCC-44A0481E646A}"/>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2314230021"/>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875">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 4 col_content">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3B85D6E3-5B2F-35E9-5F62-5641C5122064}"/>
              </a:ext>
            </a:extLst>
          </p:cNvPr>
          <p:cNvPicPr>
            <a:picLocks noGrp="1" noRot="1" noChangeAspect="1" noMove="1" noResize="1" noEditPoints="1" noAdjustHandles="1" noChangeArrowheads="1" noChangeShapeType="1" noCrop="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7" y="2699448"/>
            <a:ext cx="12191986" cy="309033"/>
          </a:xfrm>
          <a:prstGeom prst="rect">
            <a:avLst/>
          </a:prstGeom>
        </p:spPr>
      </p:pic>
      <p:sp>
        <p:nvSpPr>
          <p:cNvPr id="22" name="Title 1">
            <a:extLst>
              <a:ext uri="{FF2B5EF4-FFF2-40B4-BE49-F238E27FC236}">
                <a16:creationId xmlns:a16="http://schemas.microsoft.com/office/drawing/2014/main" id="{BBC53586-5BA1-03DB-BDFA-650FBE77D5A4}"/>
              </a:ext>
            </a:extLst>
          </p:cNvPr>
          <p:cNvSpPr>
            <a:spLocks noGrp="1"/>
          </p:cNvSpPr>
          <p:nvPr>
            <p:ph type="title" hasCustomPrompt="1"/>
          </p:nvPr>
        </p:nvSpPr>
        <p:spPr>
          <a:xfrm>
            <a:off x="360000" y="532798"/>
            <a:ext cx="7588800" cy="1167415"/>
          </a:xfrm>
        </p:spPr>
        <p:txBody>
          <a:bodyPr/>
          <a:lstStyle>
            <a:lvl1pPr>
              <a:defRPr>
                <a:solidFill>
                  <a:schemeClr val="accent3"/>
                </a:solidFill>
              </a:defRPr>
            </a:lvl1pPr>
          </a:lstStyle>
          <a:p>
            <a:r>
              <a:rPr lang="en-US" noProof="0"/>
              <a:t>Click to add title</a:t>
            </a:r>
            <a:endParaRPr lang="en-US"/>
          </a:p>
        </p:txBody>
      </p:sp>
      <p:sp>
        <p:nvSpPr>
          <p:cNvPr id="23" name="Text Placeholder eyebrow">
            <a:extLst>
              <a:ext uri="{FF2B5EF4-FFF2-40B4-BE49-F238E27FC236}">
                <a16:creationId xmlns:a16="http://schemas.microsoft.com/office/drawing/2014/main" id="{DE7C3846-3A0E-EB4A-5D05-A88472826761}"/>
              </a:ext>
            </a:extLst>
          </p:cNvPr>
          <p:cNvSpPr>
            <a:spLocks noGrp="1"/>
          </p:cNvSpPr>
          <p:nvPr>
            <p:ph type="body" sz="quarter" idx="19" hasCustomPrompt="1"/>
          </p:nvPr>
        </p:nvSpPr>
        <p:spPr>
          <a:xfrm>
            <a:off x="360000" y="295200"/>
            <a:ext cx="7588800" cy="234779"/>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17" name="Text Placeholder 16">
            <a:extLst>
              <a:ext uri="{FF2B5EF4-FFF2-40B4-BE49-F238E27FC236}">
                <a16:creationId xmlns:a16="http://schemas.microsoft.com/office/drawing/2014/main" id="{3F4B2A4F-AE05-BB2D-2F94-020FF0E32648}"/>
              </a:ext>
            </a:extLst>
          </p:cNvPr>
          <p:cNvSpPr>
            <a:spLocks noGrp="1"/>
          </p:cNvSpPr>
          <p:nvPr>
            <p:ph type="body" sz="quarter" idx="26" hasCustomPrompt="1"/>
          </p:nvPr>
        </p:nvSpPr>
        <p:spPr>
          <a:xfrm>
            <a:off x="358775" y="3225100"/>
            <a:ext cx="2052000" cy="394399"/>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3" name="Content Placeholder 2"/>
          <p:cNvSpPr>
            <a:spLocks noGrp="1"/>
          </p:cNvSpPr>
          <p:nvPr>
            <p:ph idx="1" hasCustomPrompt="1"/>
          </p:nvPr>
        </p:nvSpPr>
        <p:spPr>
          <a:xfrm>
            <a:off x="359999"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8" name="Text Placeholder 16">
            <a:extLst>
              <a:ext uri="{FF2B5EF4-FFF2-40B4-BE49-F238E27FC236}">
                <a16:creationId xmlns:a16="http://schemas.microsoft.com/office/drawing/2014/main" id="{603EA300-63BA-5800-5BBF-278E313431B8}"/>
              </a:ext>
            </a:extLst>
          </p:cNvPr>
          <p:cNvSpPr>
            <a:spLocks noGrp="1"/>
          </p:cNvSpPr>
          <p:nvPr>
            <p:ph type="body" sz="quarter" idx="27" hasCustomPrompt="1"/>
          </p:nvPr>
        </p:nvSpPr>
        <p:spPr>
          <a:xfrm>
            <a:off x="2713197" y="3225101"/>
            <a:ext cx="2052000" cy="396000"/>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714115"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9" name="Text Placeholder 16">
            <a:extLst>
              <a:ext uri="{FF2B5EF4-FFF2-40B4-BE49-F238E27FC236}">
                <a16:creationId xmlns:a16="http://schemas.microsoft.com/office/drawing/2014/main" id="{E72393E9-306A-9C81-F8BD-59FAE7359ED1}"/>
              </a:ext>
            </a:extLst>
          </p:cNvPr>
          <p:cNvSpPr>
            <a:spLocks noGrp="1"/>
          </p:cNvSpPr>
          <p:nvPr>
            <p:ph type="body" sz="quarter" idx="28" hasCustomPrompt="1"/>
          </p:nvPr>
        </p:nvSpPr>
        <p:spPr>
          <a:xfrm>
            <a:off x="5067619" y="3225101"/>
            <a:ext cx="2052000" cy="396000"/>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5068231"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20" name="Text Placeholder 16">
            <a:extLst>
              <a:ext uri="{FF2B5EF4-FFF2-40B4-BE49-F238E27FC236}">
                <a16:creationId xmlns:a16="http://schemas.microsoft.com/office/drawing/2014/main" id="{D6CEF1E1-F623-58C2-6C50-CBD9A2B313C8}"/>
              </a:ext>
            </a:extLst>
          </p:cNvPr>
          <p:cNvSpPr>
            <a:spLocks noGrp="1"/>
          </p:cNvSpPr>
          <p:nvPr>
            <p:ph type="body" sz="quarter" idx="29" hasCustomPrompt="1"/>
          </p:nvPr>
        </p:nvSpPr>
        <p:spPr>
          <a:xfrm>
            <a:off x="7422041" y="3225101"/>
            <a:ext cx="2052000" cy="396000"/>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12" name="Content Placeholder 3">
            <a:extLst>
              <a:ext uri="{FF2B5EF4-FFF2-40B4-BE49-F238E27FC236}">
                <a16:creationId xmlns:a16="http://schemas.microsoft.com/office/drawing/2014/main" id="{405546E1-7BF8-F03B-5530-1D7898C62B33}"/>
              </a:ext>
            </a:extLst>
          </p:cNvPr>
          <p:cNvSpPr>
            <a:spLocks noGrp="1"/>
          </p:cNvSpPr>
          <p:nvPr>
            <p:ph sz="half" idx="21" hasCustomPrompt="1"/>
          </p:nvPr>
        </p:nvSpPr>
        <p:spPr>
          <a:xfrm>
            <a:off x="7422347"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0" name="Text Placeholder 16">
            <a:extLst>
              <a:ext uri="{FF2B5EF4-FFF2-40B4-BE49-F238E27FC236}">
                <a16:creationId xmlns:a16="http://schemas.microsoft.com/office/drawing/2014/main" id="{D8AB7EEA-CEB4-1015-F30C-C2BC948E0519}"/>
              </a:ext>
            </a:extLst>
          </p:cNvPr>
          <p:cNvSpPr>
            <a:spLocks noGrp="1"/>
          </p:cNvSpPr>
          <p:nvPr>
            <p:ph type="body" sz="quarter" idx="30" hasCustomPrompt="1"/>
          </p:nvPr>
        </p:nvSpPr>
        <p:spPr>
          <a:xfrm>
            <a:off x="9776463" y="3225101"/>
            <a:ext cx="2052000" cy="396000"/>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21" name="Content Placeholder 3">
            <a:extLst>
              <a:ext uri="{FF2B5EF4-FFF2-40B4-BE49-F238E27FC236}">
                <a16:creationId xmlns:a16="http://schemas.microsoft.com/office/drawing/2014/main" id="{105F744D-454F-875C-C169-BB0E4AFA4120}"/>
              </a:ext>
            </a:extLst>
          </p:cNvPr>
          <p:cNvSpPr>
            <a:spLocks noGrp="1"/>
          </p:cNvSpPr>
          <p:nvPr>
            <p:ph sz="half" idx="31" hasCustomPrompt="1"/>
          </p:nvPr>
        </p:nvSpPr>
        <p:spPr>
          <a:xfrm>
            <a:off x="9776463"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2" name="Date Placeholder 5">
            <a:extLst>
              <a:ext uri="{FF2B5EF4-FFF2-40B4-BE49-F238E27FC236}">
                <a16:creationId xmlns:a16="http://schemas.microsoft.com/office/drawing/2014/main" id="{3A5A1010-14D2-1CBB-04BB-3559BA6B534D}"/>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79137512"/>
      </p:ext>
    </p:extLst>
  </p:cSld>
  <p:clrMapOvr>
    <a:masterClrMapping/>
  </p:clrMapOvr>
  <p:extLst>
    <p:ext uri="{DCECCB84-F9BA-43D5-87BE-67443E8EF086}">
      <p15:sldGuideLst xmlns:p15="http://schemas.microsoft.com/office/powerpoint/2012/main">
        <p15:guide id="1" orient="horz" pos="335">
          <p15:clr>
            <a:srgbClr val="F26B43"/>
          </p15:clr>
        </p15:guide>
        <p15:guide id="2" orient="horz" pos="2031">
          <p15:clr>
            <a:srgbClr val="F26B43"/>
          </p15:clr>
        </p15:guide>
        <p15:guide id="3" orient="horz" pos="228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 Content color">
    <p:bg>
      <p:bgPr>
        <a:solidFill>
          <a:schemeClr val="bg2"/>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ADA00A3-1949-BBC2-B834-FFE8121ED8D9}"/>
              </a:ext>
            </a:extLst>
          </p:cNvPr>
          <p:cNvSpPr>
            <a:spLocks noGrp="1"/>
          </p:cNvSpPr>
          <p:nvPr>
            <p:ph type="title" hasCustomPrompt="1"/>
          </p:nvPr>
        </p:nvSpPr>
        <p:spPr>
          <a:xfrm>
            <a:off x="360000" y="295200"/>
            <a:ext cx="7588800" cy="469910"/>
          </a:xfrm>
        </p:spPr>
        <p:txBody>
          <a:bodyPr/>
          <a:lstStyle/>
          <a:p>
            <a:r>
              <a:rPr lang="en-US" noProof="0"/>
              <a:t>Click to add title</a:t>
            </a:r>
            <a:endParaRPr lang="en-US"/>
          </a:p>
        </p:txBody>
      </p:sp>
      <p:sp>
        <p:nvSpPr>
          <p:cNvPr id="9" name="Text Placeholder sub">
            <a:extLst>
              <a:ext uri="{FF2B5EF4-FFF2-40B4-BE49-F238E27FC236}">
                <a16:creationId xmlns:a16="http://schemas.microsoft.com/office/drawing/2014/main" id="{6624D307-17AE-B860-B6BF-FBF2952BA7BA}"/>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60000" y="1706400"/>
            <a:ext cx="7588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4" name="Text Placeholder notes">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749200"/>
            <a:ext cx="75888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18DB4F76-CF7B-A1C3-7AF9-A6971FBEC67D}"/>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2" name="Date Placeholder 5">
            <a:extLst>
              <a:ext uri="{FF2B5EF4-FFF2-40B4-BE49-F238E27FC236}">
                <a16:creationId xmlns:a16="http://schemas.microsoft.com/office/drawing/2014/main" id="{2AAC1F8F-2C4B-E525-0D2F-3CCEF7244FD7}"/>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433319106"/>
      </p:ext>
    </p:extLst>
  </p:cSld>
  <p:clrMapOvr>
    <a:masterClrMapping/>
  </p:clrMapOvr>
  <p:extLst>
    <p:ext uri="{DCECCB84-F9BA-43D5-87BE-67443E8EF086}">
      <p15:sldGuideLst xmlns:p15="http://schemas.microsoft.com/office/powerpoint/2012/main">
        <p15:guide id="1" orient="horz" pos="1074">
          <p15:clr>
            <a:srgbClr val="F26B43"/>
          </p15:clr>
        </p15:guide>
        <p15:guide id="2" orient="horz" pos="486">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 Content w/eyebrow colo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533211"/>
            <a:ext cx="7588800" cy="1166400"/>
          </a:xfrm>
        </p:spPr>
        <p:txBody>
          <a:bodyPr/>
          <a:lstStyle>
            <a:lvl1pPr>
              <a:defRPr>
                <a:solidFill>
                  <a:schemeClr val="accent3"/>
                </a:solidFill>
              </a:defRPr>
            </a:lvl1pPr>
          </a:lstStyle>
          <a:p>
            <a:r>
              <a:rPr lang="en-US" noProof="0"/>
              <a:t>Click to add title</a:t>
            </a:r>
            <a:endParaRPr lang="en-US"/>
          </a:p>
        </p:txBody>
      </p:sp>
      <p:sp>
        <p:nvSpPr>
          <p:cNvPr id="5" name="Text Placeholder eyebrow">
            <a:extLst>
              <a:ext uri="{FF2B5EF4-FFF2-40B4-BE49-F238E27FC236}">
                <a16:creationId xmlns:a16="http://schemas.microsoft.com/office/drawing/2014/main" id="{AC99B38F-58E3-4A4E-B317-D556CB4BD79C}"/>
              </a:ext>
            </a:extLst>
          </p:cNvPr>
          <p:cNvSpPr>
            <a:spLocks noGrp="1"/>
          </p:cNvSpPr>
          <p:nvPr>
            <p:ph type="body" sz="quarter" idx="17" hasCustomPrompt="1"/>
          </p:nvPr>
        </p:nvSpPr>
        <p:spPr>
          <a:xfrm>
            <a:off x="360000" y="296574"/>
            <a:ext cx="7588800" cy="232064"/>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3" name="Content Placeholder 2"/>
          <p:cNvSpPr>
            <a:spLocks noGrp="1"/>
          </p:cNvSpPr>
          <p:nvPr>
            <p:ph idx="1" hasCustomPrompt="1"/>
          </p:nvPr>
        </p:nvSpPr>
        <p:spPr>
          <a:xfrm>
            <a:off x="360000" y="1706399"/>
            <a:ext cx="7588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4" name="Text Placeholder notes">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749200"/>
            <a:ext cx="7588800" cy="288000"/>
          </a:xfrm>
        </p:spPr>
        <p:txBody>
          <a:bodyPr anchor="b"/>
          <a:lstStyle>
            <a:lvl1pPr marL="0" indent="0">
              <a:buNone/>
              <a:defRPr sz="900" i="1">
                <a:solidFill>
                  <a:schemeClr val="tx1"/>
                </a:solidFill>
              </a:defRPr>
            </a:lvl1pPr>
          </a:lstStyle>
          <a:p>
            <a:pPr lvl="0"/>
            <a:r>
              <a:rPr lang="en-US"/>
              <a:t>Insert notes</a:t>
            </a:r>
          </a:p>
        </p:txBody>
      </p:sp>
      <p:sp>
        <p:nvSpPr>
          <p:cNvPr id="8" name="Slide Number Placeholder 7">
            <a:extLst>
              <a:ext uri="{FF2B5EF4-FFF2-40B4-BE49-F238E27FC236}">
                <a16:creationId xmlns:a16="http://schemas.microsoft.com/office/drawing/2014/main" id="{B1EB77F1-4CE8-6D3E-4EBE-D5782485C18F}"/>
              </a:ext>
            </a:extLst>
          </p:cNvPr>
          <p:cNvSpPr>
            <a:spLocks noGrp="1"/>
          </p:cNvSpPr>
          <p:nvPr>
            <p:ph type="sldNum" sz="quarter" idx="19"/>
          </p:nvPr>
        </p:nvSpPr>
        <p:spPr/>
        <p:txBody>
          <a:bodyPr/>
          <a:lstStyle/>
          <a:p>
            <a:fld id="{23AA811B-2EBD-4900-905E-5BE206449611}" type="slidenum">
              <a:rPr lang="en-US" smtClean="0"/>
              <a:pPr/>
              <a:t>‹#›</a:t>
            </a:fld>
            <a:endParaRPr lang="en-US"/>
          </a:p>
        </p:txBody>
      </p:sp>
      <p:sp>
        <p:nvSpPr>
          <p:cNvPr id="4" name="Date Placeholder 5">
            <a:extLst>
              <a:ext uri="{FF2B5EF4-FFF2-40B4-BE49-F238E27FC236}">
                <a16:creationId xmlns:a16="http://schemas.microsoft.com/office/drawing/2014/main" id="{D13FCF4A-B0A2-BBC4-B08D-60AF636FA25A}"/>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2138734960"/>
      </p:ext>
    </p:extLst>
  </p:cSld>
  <p:clrMapOvr>
    <a:masterClrMapping/>
  </p:clrMapOvr>
  <p:extLst>
    <p:ext uri="{DCECCB84-F9BA-43D5-87BE-67443E8EF086}">
      <p15:sldGuideLst xmlns:p15="http://schemas.microsoft.com/office/powerpoint/2012/main">
        <p15:guide id="2" orient="horz" pos="336">
          <p15:clr>
            <a:srgbClr val="F26B43"/>
          </p15:clr>
        </p15:guide>
        <p15:guide id="3" orient="horz" pos="1071">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 Content colo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60000" y="1706400"/>
            <a:ext cx="5644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86488" y="1706400"/>
            <a:ext cx="564515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8" name="Date Placeholder 5">
            <a:extLst>
              <a:ext uri="{FF2B5EF4-FFF2-40B4-BE49-F238E27FC236}">
                <a16:creationId xmlns:a16="http://schemas.microsoft.com/office/drawing/2014/main" id="{C2AC1DE4-0AEE-52CA-5CFF-7633479D34AA}"/>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072021629"/>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074">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 Content w/eyebrow colo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532798"/>
            <a:ext cx="7588800" cy="1167415"/>
          </a:xfrm>
        </p:spPr>
        <p:txBody>
          <a:bodyPr/>
          <a:lstStyle>
            <a:lvl1pPr>
              <a:defRPr>
                <a:solidFill>
                  <a:schemeClr val="accent3"/>
                </a:solidFill>
              </a:defRPr>
            </a:lvl1pPr>
          </a:lstStyle>
          <a:p>
            <a:r>
              <a:rPr lang="en-US" noProof="0"/>
              <a:t>Click to add title</a:t>
            </a:r>
            <a:endParaRPr lang="en-US"/>
          </a:p>
        </p:txBody>
      </p:sp>
      <p:sp>
        <p:nvSpPr>
          <p:cNvPr id="6" name="Text Placeholder eyebrow">
            <a:extLst>
              <a:ext uri="{FF2B5EF4-FFF2-40B4-BE49-F238E27FC236}">
                <a16:creationId xmlns:a16="http://schemas.microsoft.com/office/drawing/2014/main" id="{A6F7E782-EEB2-33F5-CD9D-EC84094E1665}"/>
              </a:ext>
            </a:extLst>
          </p:cNvPr>
          <p:cNvSpPr>
            <a:spLocks noGrp="1"/>
          </p:cNvSpPr>
          <p:nvPr>
            <p:ph type="body" sz="quarter" idx="19" hasCustomPrompt="1"/>
          </p:nvPr>
        </p:nvSpPr>
        <p:spPr>
          <a:xfrm>
            <a:off x="360000" y="295200"/>
            <a:ext cx="7588800" cy="234779"/>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3" name="Content Placeholder 2"/>
          <p:cNvSpPr>
            <a:spLocks noGrp="1"/>
          </p:cNvSpPr>
          <p:nvPr>
            <p:ph idx="1" hasCustomPrompt="1"/>
          </p:nvPr>
        </p:nvSpPr>
        <p:spPr>
          <a:xfrm>
            <a:off x="360000" y="1706400"/>
            <a:ext cx="5644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86488" y="1706400"/>
            <a:ext cx="5644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8" name="Date Placeholder 5">
            <a:extLst>
              <a:ext uri="{FF2B5EF4-FFF2-40B4-BE49-F238E27FC236}">
                <a16:creationId xmlns:a16="http://schemas.microsoft.com/office/drawing/2014/main" id="{5689377D-371F-DE28-4505-0C2D7FBCEB6C}"/>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695617040"/>
      </p:ext>
    </p:extLst>
  </p:cSld>
  <p:clrMapOvr>
    <a:masterClrMapping/>
  </p:clrMapOvr>
  <p:extLst>
    <p:ext uri="{DCECCB84-F9BA-43D5-87BE-67443E8EF086}">
      <p15:sldGuideLst xmlns:p15="http://schemas.microsoft.com/office/powerpoint/2012/main">
        <p15:guide id="1" orient="horz" pos="1071">
          <p15:clr>
            <a:srgbClr val="F26B43"/>
          </p15:clr>
        </p15:guide>
        <p15:guide id="2" orient="horz" pos="336">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 Content colo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59999"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243999"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8128000"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10" name="Date Placeholder 5">
            <a:extLst>
              <a:ext uri="{FF2B5EF4-FFF2-40B4-BE49-F238E27FC236}">
                <a16:creationId xmlns:a16="http://schemas.microsoft.com/office/drawing/2014/main" id="{EC8D3555-CC00-2423-2B89-8E5269B68F44}"/>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2967677632"/>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074">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 Content w/eyebrow colo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532798"/>
            <a:ext cx="7588800" cy="1167415"/>
          </a:xfrm>
        </p:spPr>
        <p:txBody>
          <a:bodyPr/>
          <a:lstStyle>
            <a:lvl1pPr>
              <a:defRPr>
                <a:solidFill>
                  <a:schemeClr val="accent3"/>
                </a:solidFill>
              </a:defRPr>
            </a:lvl1pPr>
          </a:lstStyle>
          <a:p>
            <a:r>
              <a:rPr lang="en-US" noProof="0"/>
              <a:t>Click to add title</a:t>
            </a:r>
            <a:endParaRPr lang="en-US"/>
          </a:p>
        </p:txBody>
      </p:sp>
      <p:sp>
        <p:nvSpPr>
          <p:cNvPr id="6" name="Text Placeholder eyebrow">
            <a:extLst>
              <a:ext uri="{FF2B5EF4-FFF2-40B4-BE49-F238E27FC236}">
                <a16:creationId xmlns:a16="http://schemas.microsoft.com/office/drawing/2014/main" id="{A6F7E782-EEB2-33F5-CD9D-EC84094E1665}"/>
              </a:ext>
            </a:extLst>
          </p:cNvPr>
          <p:cNvSpPr>
            <a:spLocks noGrp="1"/>
          </p:cNvSpPr>
          <p:nvPr>
            <p:ph type="body" sz="quarter" idx="19" hasCustomPrompt="1"/>
          </p:nvPr>
        </p:nvSpPr>
        <p:spPr>
          <a:xfrm>
            <a:off x="360000" y="295200"/>
            <a:ext cx="7588800" cy="234779"/>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3" name="Content Placeholder 2"/>
          <p:cNvSpPr>
            <a:spLocks noGrp="1"/>
          </p:cNvSpPr>
          <p:nvPr>
            <p:ph idx="1" hasCustomPrompt="1"/>
          </p:nvPr>
        </p:nvSpPr>
        <p:spPr>
          <a:xfrm>
            <a:off x="360000"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244400"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8" name="Content Placeholder 3">
            <a:extLst>
              <a:ext uri="{FF2B5EF4-FFF2-40B4-BE49-F238E27FC236}">
                <a16:creationId xmlns:a16="http://schemas.microsoft.com/office/drawing/2014/main" id="{DFBABCC5-94E5-5B1E-9A94-449E76472BB5}"/>
              </a:ext>
            </a:extLst>
          </p:cNvPr>
          <p:cNvSpPr>
            <a:spLocks noGrp="1"/>
          </p:cNvSpPr>
          <p:nvPr>
            <p:ph sz="half" idx="20" hasCustomPrompt="1"/>
          </p:nvPr>
        </p:nvSpPr>
        <p:spPr>
          <a:xfrm>
            <a:off x="8128800" y="1706400"/>
            <a:ext cx="3704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50DD623D-6152-408F-1A98-98AAAF53FD0C}"/>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710926832"/>
      </p:ext>
    </p:extLst>
  </p:cSld>
  <p:clrMapOvr>
    <a:masterClrMapping/>
  </p:clrMapOvr>
  <p:extLst>
    <p:ext uri="{DCECCB84-F9BA-43D5-87BE-67443E8EF086}">
      <p15:sldGuideLst xmlns:p15="http://schemas.microsoft.com/office/powerpoint/2012/main">
        <p15:guide id="1" orient="horz" pos="1071">
          <p15:clr>
            <a:srgbClr val="F26B43"/>
          </p15:clr>
        </p15:guide>
        <p15:guide id="2" orient="horz" pos="336">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Content colo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59999" y="1706400"/>
            <a:ext cx="2732451"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273576"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6187102"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12" name="Content Placeholder 3">
            <a:extLst>
              <a:ext uri="{FF2B5EF4-FFF2-40B4-BE49-F238E27FC236}">
                <a16:creationId xmlns:a16="http://schemas.microsoft.com/office/drawing/2014/main" id="{405546E1-7BF8-F03B-5530-1D7898C62B33}"/>
              </a:ext>
            </a:extLst>
          </p:cNvPr>
          <p:cNvSpPr>
            <a:spLocks noGrp="1"/>
          </p:cNvSpPr>
          <p:nvPr>
            <p:ph sz="half" idx="21" hasCustomPrompt="1"/>
          </p:nvPr>
        </p:nvSpPr>
        <p:spPr>
          <a:xfrm>
            <a:off x="9100629"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9" name="Date Placeholder 5">
            <a:extLst>
              <a:ext uri="{FF2B5EF4-FFF2-40B4-BE49-F238E27FC236}">
                <a16:creationId xmlns:a16="http://schemas.microsoft.com/office/drawing/2014/main" id="{F00CED9C-CBDA-34FC-BB8C-4CFE2A146469}"/>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059521499"/>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074">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Content w/eyebrow colo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532798"/>
            <a:ext cx="7588800" cy="1167415"/>
          </a:xfrm>
        </p:spPr>
        <p:txBody>
          <a:bodyPr/>
          <a:lstStyle>
            <a:lvl1pPr>
              <a:defRPr>
                <a:solidFill>
                  <a:schemeClr val="accent3"/>
                </a:solidFill>
              </a:defRPr>
            </a:lvl1pPr>
          </a:lstStyle>
          <a:p>
            <a:r>
              <a:rPr lang="en-US" noProof="0"/>
              <a:t>Click to add title</a:t>
            </a:r>
            <a:endParaRPr lang="en-US"/>
          </a:p>
        </p:txBody>
      </p:sp>
      <p:sp>
        <p:nvSpPr>
          <p:cNvPr id="6" name="Text Placeholder eyebrow">
            <a:extLst>
              <a:ext uri="{FF2B5EF4-FFF2-40B4-BE49-F238E27FC236}">
                <a16:creationId xmlns:a16="http://schemas.microsoft.com/office/drawing/2014/main" id="{A6F7E782-EEB2-33F5-CD9D-EC84094E1665}"/>
              </a:ext>
            </a:extLst>
          </p:cNvPr>
          <p:cNvSpPr>
            <a:spLocks noGrp="1"/>
          </p:cNvSpPr>
          <p:nvPr>
            <p:ph type="body" sz="quarter" idx="19" hasCustomPrompt="1"/>
          </p:nvPr>
        </p:nvSpPr>
        <p:spPr>
          <a:xfrm>
            <a:off x="360000" y="295200"/>
            <a:ext cx="7588800" cy="234779"/>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3" name="Content Placeholder 2"/>
          <p:cNvSpPr>
            <a:spLocks noGrp="1"/>
          </p:cNvSpPr>
          <p:nvPr>
            <p:ph idx="1" hasCustomPrompt="1"/>
          </p:nvPr>
        </p:nvSpPr>
        <p:spPr>
          <a:xfrm>
            <a:off x="360000"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273600"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8" name="Content Placeholder 3">
            <a:extLst>
              <a:ext uri="{FF2B5EF4-FFF2-40B4-BE49-F238E27FC236}">
                <a16:creationId xmlns:a16="http://schemas.microsoft.com/office/drawing/2014/main" id="{DFBABCC5-94E5-5B1E-9A94-449E76472BB5}"/>
              </a:ext>
            </a:extLst>
          </p:cNvPr>
          <p:cNvSpPr>
            <a:spLocks noGrp="1"/>
          </p:cNvSpPr>
          <p:nvPr>
            <p:ph sz="half" idx="20" hasCustomPrompt="1"/>
          </p:nvPr>
        </p:nvSpPr>
        <p:spPr>
          <a:xfrm>
            <a:off x="6187200"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9" name="Content Placeholder 3">
            <a:extLst>
              <a:ext uri="{FF2B5EF4-FFF2-40B4-BE49-F238E27FC236}">
                <a16:creationId xmlns:a16="http://schemas.microsoft.com/office/drawing/2014/main" id="{B675280F-D86E-F890-AC2F-16E5DEA2266B}"/>
              </a:ext>
            </a:extLst>
          </p:cNvPr>
          <p:cNvSpPr>
            <a:spLocks noGrp="1"/>
          </p:cNvSpPr>
          <p:nvPr>
            <p:ph sz="half" idx="21" hasCustomPrompt="1"/>
          </p:nvPr>
        </p:nvSpPr>
        <p:spPr>
          <a:xfrm>
            <a:off x="9100800" y="1706400"/>
            <a:ext cx="27324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10" name="Date Placeholder 5">
            <a:extLst>
              <a:ext uri="{FF2B5EF4-FFF2-40B4-BE49-F238E27FC236}">
                <a16:creationId xmlns:a16="http://schemas.microsoft.com/office/drawing/2014/main" id="{9D2FF307-66FA-0AE7-527F-24C127ACA72A}"/>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2040752986"/>
      </p:ext>
    </p:extLst>
  </p:cSld>
  <p:clrMapOvr>
    <a:masterClrMapping/>
  </p:clrMapOvr>
  <p:extLst>
    <p:ext uri="{DCECCB84-F9BA-43D5-87BE-67443E8EF086}">
      <p15:sldGuideLst xmlns:p15="http://schemas.microsoft.com/office/powerpoint/2012/main">
        <p15:guide id="1" orient="horz" pos="1071">
          <p15:clr>
            <a:srgbClr val="F26B43"/>
          </p15:clr>
        </p15:guide>
        <p15:guide id="2" orient="horz" pos="336">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 Cover">
    <p:bg bwMode="ltGray">
      <p:bgPr>
        <a:solidFill>
          <a:schemeClr val="tx1"/>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pic>
        <p:nvPicPr>
          <p:cNvPr id="8" name="Picture 7" descr="A person looking at a cell phone&#10;&#10;Description automatically generated">
            <a:extLst>
              <a:ext uri="{FF2B5EF4-FFF2-40B4-BE49-F238E27FC236}">
                <a16:creationId xmlns:a16="http://schemas.microsoft.com/office/drawing/2014/main" id="{FCE1784D-AC37-CB9A-2D85-F1E62342ABBD}"/>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7" name="Graphic">
            <a:extLst>
              <a:ext uri="{FF2B5EF4-FFF2-40B4-BE49-F238E27FC236}">
                <a16:creationId xmlns:a16="http://schemas.microsoft.com/office/drawing/2014/main" id="{2D32B9E0-AECD-F5E4-582D-93E292EB3F0B}"/>
              </a:ext>
            </a:extLst>
          </p:cNvPr>
          <p:cNvSpPr/>
          <p:nvPr userDrawn="1"/>
        </p:nvSpPr>
        <p:spPr>
          <a:xfrm>
            <a:off x="358775" y="358775"/>
            <a:ext cx="11469688" cy="6138000"/>
          </a:xfrm>
          <a:custGeom>
            <a:avLst/>
            <a:gdLst>
              <a:gd name="connsiteX0" fmla="*/ 8117764 w 11469688"/>
              <a:gd name="connsiteY0" fmla="*/ 532822 h 6138000"/>
              <a:gd name="connsiteX1" fmla="*/ 7810298 w 11469688"/>
              <a:gd name="connsiteY1" fmla="*/ 840285 h 6138000"/>
              <a:gd name="connsiteX2" fmla="*/ 7810298 w 11469688"/>
              <a:gd name="connsiteY2" fmla="*/ 1839636 h 6138000"/>
              <a:gd name="connsiteX3" fmla="*/ 7579668 w 11469688"/>
              <a:gd name="connsiteY3" fmla="*/ 2070265 h 6138000"/>
              <a:gd name="connsiteX4" fmla="*/ 6580310 w 11469688"/>
              <a:gd name="connsiteY4" fmla="*/ 2070265 h 6138000"/>
              <a:gd name="connsiteX5" fmla="*/ 6272844 w 11469688"/>
              <a:gd name="connsiteY5" fmla="*/ 2377728 h 6138000"/>
              <a:gd name="connsiteX6" fmla="*/ 6272844 w 11469688"/>
              <a:gd name="connsiteY6" fmla="*/ 3300118 h 6138000"/>
              <a:gd name="connsiteX7" fmla="*/ 6580310 w 11469688"/>
              <a:gd name="connsiteY7" fmla="*/ 3607581 h 6138000"/>
              <a:gd name="connsiteX8" fmla="*/ 7579668 w 11469688"/>
              <a:gd name="connsiteY8" fmla="*/ 3607581 h 6138000"/>
              <a:gd name="connsiteX9" fmla="*/ 7810298 w 11469688"/>
              <a:gd name="connsiteY9" fmla="*/ 3838210 h 6138000"/>
              <a:gd name="connsiteX10" fmla="*/ 7810298 w 11469688"/>
              <a:gd name="connsiteY10" fmla="*/ 4837561 h 6138000"/>
              <a:gd name="connsiteX11" fmla="*/ 8117764 w 11469688"/>
              <a:gd name="connsiteY11" fmla="*/ 5145024 h 6138000"/>
              <a:gd name="connsiteX12" fmla="*/ 9040160 w 11469688"/>
              <a:gd name="connsiteY12" fmla="*/ 5145024 h 6138000"/>
              <a:gd name="connsiteX13" fmla="*/ 9347625 w 11469688"/>
              <a:gd name="connsiteY13" fmla="*/ 4837561 h 6138000"/>
              <a:gd name="connsiteX14" fmla="*/ 9347625 w 11469688"/>
              <a:gd name="connsiteY14" fmla="*/ 3838210 h 6138000"/>
              <a:gd name="connsiteX15" fmla="*/ 9578256 w 11469688"/>
              <a:gd name="connsiteY15" fmla="*/ 3607581 h 6138000"/>
              <a:gd name="connsiteX16" fmla="*/ 10577614 w 11469688"/>
              <a:gd name="connsiteY16" fmla="*/ 3607581 h 6138000"/>
              <a:gd name="connsiteX17" fmla="*/ 10885079 w 11469688"/>
              <a:gd name="connsiteY17" fmla="*/ 3300118 h 6138000"/>
              <a:gd name="connsiteX18" fmla="*/ 10885079 w 11469688"/>
              <a:gd name="connsiteY18" fmla="*/ 2377728 h 6138000"/>
              <a:gd name="connsiteX19" fmla="*/ 10577614 w 11469688"/>
              <a:gd name="connsiteY19" fmla="*/ 2070265 h 6138000"/>
              <a:gd name="connsiteX20" fmla="*/ 9578256 w 11469688"/>
              <a:gd name="connsiteY20" fmla="*/ 2070265 h 6138000"/>
              <a:gd name="connsiteX21" fmla="*/ 9347625 w 11469688"/>
              <a:gd name="connsiteY21" fmla="*/ 1839636 h 6138000"/>
              <a:gd name="connsiteX22" fmla="*/ 9347625 w 11469688"/>
              <a:gd name="connsiteY22" fmla="*/ 840285 h 6138000"/>
              <a:gd name="connsiteX23" fmla="*/ 9040160 w 11469688"/>
              <a:gd name="connsiteY23" fmla="*/ 532822 h 6138000"/>
              <a:gd name="connsiteX24" fmla="*/ 449486 w 11469688"/>
              <a:gd name="connsiteY24" fmla="*/ 0 h 6138000"/>
              <a:gd name="connsiteX25" fmla="*/ 11020202 w 11469688"/>
              <a:gd name="connsiteY25" fmla="*/ 0 h 6138000"/>
              <a:gd name="connsiteX26" fmla="*/ 11469688 w 11469688"/>
              <a:gd name="connsiteY26" fmla="*/ 449486 h 6138000"/>
              <a:gd name="connsiteX27" fmla="*/ 11469688 w 11469688"/>
              <a:gd name="connsiteY27" fmla="*/ 5688514 h 6138000"/>
              <a:gd name="connsiteX28" fmla="*/ 11020202 w 11469688"/>
              <a:gd name="connsiteY28" fmla="*/ 6138000 h 6138000"/>
              <a:gd name="connsiteX29" fmla="*/ 449486 w 11469688"/>
              <a:gd name="connsiteY29" fmla="*/ 6138000 h 6138000"/>
              <a:gd name="connsiteX30" fmla="*/ 0 w 11469688"/>
              <a:gd name="connsiteY30" fmla="*/ 5688514 h 6138000"/>
              <a:gd name="connsiteX31" fmla="*/ 0 w 11469688"/>
              <a:gd name="connsiteY31" fmla="*/ 449486 h 6138000"/>
              <a:gd name="connsiteX32" fmla="*/ 449486 w 11469688"/>
              <a:gd name="connsiteY32" fmla="*/ 0 h 613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469688" h="6138000">
                <a:moveTo>
                  <a:pt x="8117764" y="532822"/>
                </a:moveTo>
                <a:cubicBezTo>
                  <a:pt x="7947966" y="532822"/>
                  <a:pt x="7810298" y="670488"/>
                  <a:pt x="7810298" y="840285"/>
                </a:cubicBezTo>
                <a:lnTo>
                  <a:pt x="7810298" y="1839636"/>
                </a:lnTo>
                <a:cubicBezTo>
                  <a:pt x="7810298" y="1967015"/>
                  <a:pt x="7707048" y="2070265"/>
                  <a:pt x="7579668" y="2070265"/>
                </a:cubicBezTo>
                <a:lnTo>
                  <a:pt x="6580310" y="2070265"/>
                </a:lnTo>
                <a:cubicBezTo>
                  <a:pt x="6410512" y="2070265"/>
                  <a:pt x="6272844" y="2207931"/>
                  <a:pt x="6272844" y="2377728"/>
                </a:cubicBezTo>
                <a:lnTo>
                  <a:pt x="6272844" y="3300118"/>
                </a:lnTo>
                <a:cubicBezTo>
                  <a:pt x="6272844" y="3469915"/>
                  <a:pt x="6410512" y="3607581"/>
                  <a:pt x="6580310" y="3607581"/>
                </a:cubicBezTo>
                <a:lnTo>
                  <a:pt x="7579668" y="3607581"/>
                </a:lnTo>
                <a:cubicBezTo>
                  <a:pt x="7707048" y="3607581"/>
                  <a:pt x="7810298" y="3710831"/>
                  <a:pt x="7810298" y="3838210"/>
                </a:cubicBezTo>
                <a:lnTo>
                  <a:pt x="7810298" y="4837561"/>
                </a:lnTo>
                <a:cubicBezTo>
                  <a:pt x="7810298" y="5007358"/>
                  <a:pt x="7947966" y="5145024"/>
                  <a:pt x="8117764" y="5145024"/>
                </a:cubicBezTo>
                <a:lnTo>
                  <a:pt x="9040160" y="5145024"/>
                </a:lnTo>
                <a:cubicBezTo>
                  <a:pt x="9209958" y="5145024"/>
                  <a:pt x="9347625" y="5007358"/>
                  <a:pt x="9347625" y="4837561"/>
                </a:cubicBezTo>
                <a:lnTo>
                  <a:pt x="9347625" y="3838210"/>
                </a:lnTo>
                <a:cubicBezTo>
                  <a:pt x="9347625" y="3710831"/>
                  <a:pt x="9450876" y="3607581"/>
                  <a:pt x="9578256" y="3607581"/>
                </a:cubicBezTo>
                <a:lnTo>
                  <a:pt x="10577614" y="3607581"/>
                </a:lnTo>
                <a:cubicBezTo>
                  <a:pt x="10747412" y="3607581"/>
                  <a:pt x="10885079" y="3469915"/>
                  <a:pt x="10885079" y="3300118"/>
                </a:cubicBezTo>
                <a:lnTo>
                  <a:pt x="10885079" y="2377728"/>
                </a:lnTo>
                <a:cubicBezTo>
                  <a:pt x="10885079" y="2207931"/>
                  <a:pt x="10747412" y="2070265"/>
                  <a:pt x="10577614" y="2070265"/>
                </a:cubicBezTo>
                <a:lnTo>
                  <a:pt x="9578256" y="2070265"/>
                </a:lnTo>
                <a:cubicBezTo>
                  <a:pt x="9450876" y="2070265"/>
                  <a:pt x="9347625" y="1967015"/>
                  <a:pt x="9347625" y="1839636"/>
                </a:cubicBezTo>
                <a:lnTo>
                  <a:pt x="9347625" y="840285"/>
                </a:lnTo>
                <a:cubicBezTo>
                  <a:pt x="9347625" y="670488"/>
                  <a:pt x="9209958" y="532822"/>
                  <a:pt x="9040160" y="532822"/>
                </a:cubicBezTo>
                <a:close/>
                <a:moveTo>
                  <a:pt x="449486" y="0"/>
                </a:moveTo>
                <a:lnTo>
                  <a:pt x="11020202" y="0"/>
                </a:lnTo>
                <a:cubicBezTo>
                  <a:pt x="11268446" y="0"/>
                  <a:pt x="11469688" y="201242"/>
                  <a:pt x="11469688" y="449486"/>
                </a:cubicBezTo>
                <a:lnTo>
                  <a:pt x="11469688" y="5688514"/>
                </a:lnTo>
                <a:cubicBezTo>
                  <a:pt x="11469688" y="5936758"/>
                  <a:pt x="11268446" y="6138000"/>
                  <a:pt x="11020202" y="6138000"/>
                </a:cubicBezTo>
                <a:lnTo>
                  <a:pt x="449486" y="6138000"/>
                </a:lnTo>
                <a:cubicBezTo>
                  <a:pt x="201242" y="6138000"/>
                  <a:pt x="0" y="5936758"/>
                  <a:pt x="0" y="5688514"/>
                </a:cubicBezTo>
                <a:lnTo>
                  <a:pt x="0" y="449486"/>
                </a:lnTo>
                <a:cubicBezTo>
                  <a:pt x="0" y="201242"/>
                  <a:pt x="201242" y="0"/>
                  <a:pt x="449486" y="0"/>
                </a:cubicBezTo>
                <a:close/>
              </a:path>
            </a:pathLst>
          </a:cu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2" name="Title 1"/>
          <p:cNvSpPr>
            <a:spLocks noGrp="1"/>
          </p:cNvSpPr>
          <p:nvPr>
            <p:ph type="ctrTitle" hasCustomPrompt="1"/>
          </p:nvPr>
        </p:nvSpPr>
        <p:spPr bwMode="white">
          <a:xfrm>
            <a:off x="841248" y="1450800"/>
            <a:ext cx="5165852" cy="1820862"/>
          </a:xfrm>
          <a:noFill/>
        </p:spPr>
        <p:txBody>
          <a:bodyPr anchor="b" anchorCtr="0"/>
          <a:lstStyle>
            <a:lvl1pPr algn="l">
              <a:lnSpc>
                <a:spcPct val="85000"/>
              </a:lnSpc>
              <a:defRPr sz="6000" b="0">
                <a:solidFill>
                  <a:schemeClr val="accent1"/>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bwMode="white">
          <a:xfrm>
            <a:off x="841248" y="3654000"/>
            <a:ext cx="5165852" cy="1728000"/>
          </a:xfrm>
        </p:spPr>
        <p:txBody>
          <a:bodyPr/>
          <a:lstStyle>
            <a:lvl1pPr marL="0" indent="0">
              <a:lnSpc>
                <a:spcPct val="105000"/>
              </a:lnSpc>
              <a:buNone/>
              <a:defRPr sz="2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sp>
        <p:nvSpPr>
          <p:cNvPr id="15" name="Legal dynamic" descr="{&quot;templafy&quot;:{&quot;id&quot;:&quot;df4b4e49-b7da-4e6e-85b0-6c53a20f83eb&quot;}}" title="Form.Cigna_Confidentiality.EvernorthConfidentiality">
            <a:extLst>
              <a:ext uri="{FF2B5EF4-FFF2-40B4-BE49-F238E27FC236}">
                <a16:creationId xmlns:a16="http://schemas.microsoft.com/office/drawing/2014/main" id="{9F01B46A-535C-85FD-CBBA-B7D9FD817E62}"/>
              </a:ext>
            </a:extLst>
          </p:cNvPr>
          <p:cNvSpPr/>
          <p:nvPr userDrawn="1"/>
        </p:nvSpPr>
        <p:spPr bwMode="white">
          <a:xfrm>
            <a:off x="5430786" y="5903806"/>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6" name="Internal Stamp dynamic" descr="{&quot;templafy&quot;:{&quot;id&quot;:&quot;b4f616b6-4d0d-4a7a-92ba-6ad08fb24e6c&quot;}}" title="Form.Cigna_Confidentiality.Cigna_confidentiality">
            <a:extLst>
              <a:ext uri="{FF2B5EF4-FFF2-40B4-BE49-F238E27FC236}">
                <a16:creationId xmlns:a16="http://schemas.microsoft.com/office/drawing/2014/main" id="{CC8FB2CC-F10A-4F4F-8F20-94D3B3E328E4}"/>
              </a:ext>
            </a:extLst>
          </p:cNvPr>
          <p:cNvSpPr/>
          <p:nvPr userDrawn="1"/>
        </p:nvSpPr>
        <p:spPr bwMode="white">
          <a:xfrm>
            <a:off x="3096000" y="5903806"/>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5" name="Dynamic logo hypermint" descr="{&quot;templafy&quot;:{&quot;id&quot;:&quot;32c07e7b-fa88-4fa0-97b0-13ac750033a2&quot;}}">
            <a:extLst>
              <a:ext uri="{FF2B5EF4-FFF2-40B4-BE49-F238E27FC236}">
                <a16:creationId xmlns:a16="http://schemas.microsoft.com/office/drawing/2014/main" id="{B991C9F8-5C35-F181-FDCC-12951A6DD9EB}"/>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820800" y="5569199"/>
            <a:ext cx="2145868" cy="756094"/>
          </a:xfrm>
          <a:prstGeom prst="rect">
            <a:avLst/>
          </a:prstGeom>
        </p:spPr>
      </p:pic>
      <p:sp>
        <p:nvSpPr>
          <p:cNvPr id="13" name="Slide Number Placeholder 12">
            <a:extLst>
              <a:ext uri="{FF2B5EF4-FFF2-40B4-BE49-F238E27FC236}">
                <a16:creationId xmlns:a16="http://schemas.microsoft.com/office/drawing/2014/main" id="{610B8742-C532-4276-A55B-E4E96C675DA4}"/>
              </a:ext>
            </a:extLst>
          </p:cNvPr>
          <p:cNvSpPr>
            <a:spLocks noGrp="1"/>
          </p:cNvSpPr>
          <p:nvPr>
            <p:ph type="sldNum" sz="quarter" idx="16"/>
          </p:nvPr>
        </p:nvSpPr>
        <p:spPr bwMode="white">
          <a:xfrm>
            <a:off x="11068880" y="6051600"/>
            <a:ext cx="266400" cy="180000"/>
          </a:xfrm>
        </p:spPr>
        <p:txBody>
          <a:bodyPr/>
          <a:lstStyle>
            <a:lvl1pPr>
              <a:defRPr>
                <a:solidFill>
                  <a:schemeClr val="tx2"/>
                </a:solidFill>
              </a:defRPr>
            </a:lvl1pPr>
          </a:lstStyle>
          <a:p>
            <a:fld id="{23AA811B-2EBD-4900-905E-5BE206449611}" type="slidenum">
              <a:rPr lang="en-US" smtClean="0"/>
              <a:pPr/>
              <a:t>‹#›</a:t>
            </a:fld>
            <a:endParaRPr lang="en-US"/>
          </a:p>
        </p:txBody>
      </p:sp>
      <p:sp>
        <p:nvSpPr>
          <p:cNvPr id="3" name="Date Placeholder 2">
            <a:extLst>
              <a:ext uri="{FF2B5EF4-FFF2-40B4-BE49-F238E27FC236}">
                <a16:creationId xmlns:a16="http://schemas.microsoft.com/office/drawing/2014/main" id="{788BBC47-061B-6B03-3F22-69BD151E2BA1}"/>
              </a:ext>
            </a:extLst>
          </p:cNvPr>
          <p:cNvSpPr>
            <a:spLocks noGrp="1"/>
          </p:cNvSpPr>
          <p:nvPr>
            <p:ph type="dt" sz="half" idx="17"/>
          </p:nvPr>
        </p:nvSpPr>
        <p:spPr>
          <a:xfrm>
            <a:off x="10141200" y="60516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932623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300">
          <p15:clr>
            <a:srgbClr val="F26B43"/>
          </p15:clr>
        </p15:guide>
        <p15:guide id="2" orient="horz" pos="2064">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 Content color">
    <p:bg>
      <p:bgPr>
        <a:solidFill>
          <a:schemeClr val="bg2"/>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E62DA21-7247-AE84-D579-FE4CCCDB80C5}"/>
              </a:ext>
            </a:extLst>
          </p:cNvPr>
          <p:cNvSpPr>
            <a:spLocks noGrp="1" noRot="1" noMove="1" noResize="1" noEditPoints="1" noAdjustHandles="1" noChangeArrowheads="1" noChangeShapeType="1"/>
          </p:cNvSpPr>
          <p:nvPr userDrawn="1"/>
        </p:nvSpPr>
        <p:spPr bwMode="white">
          <a:xfrm>
            <a:off x="2736000" y="6063916"/>
            <a:ext cx="1868400" cy="7940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7" name="Picture 6" descr="A person running outside with trees in the background&#10;&#10;Description automatically generated">
            <a:extLst>
              <a:ext uri="{FF2B5EF4-FFF2-40B4-BE49-F238E27FC236}">
                <a16:creationId xmlns:a16="http://schemas.microsoft.com/office/drawing/2014/main" id="{89A96106-E0FF-D5DD-DAB7-FC1FFBA68FC3}"/>
              </a:ext>
            </a:extLst>
          </p:cNvPr>
          <p:cNvPicPr>
            <a:picLocks noGrp="1" noRot="1" noChangeAspect="1" noMove="1" noResize="1" noEditPoints="1" noAdjustHandles="1" noChangeArrowheads="1" noChangeShapeType="1" noCrop="1"/>
          </p:cNvPicPr>
          <p:nvPr userDrawn="1"/>
        </p:nvPicPr>
        <p:blipFill rotWithShape="1">
          <a:blip r:embed="rId2">
            <a:alphaModFix/>
            <a:extLst>
              <a:ext uri="{28A0092B-C50C-407E-A947-70E740481C1C}">
                <a14:useLocalDpi xmlns:a14="http://schemas.microsoft.com/office/drawing/2010/main" val="0"/>
              </a:ext>
            </a:extLst>
          </a:blip>
          <a:srcRect l="1513" t="2124" r="37351" b="16994"/>
          <a:stretch/>
        </p:blipFill>
        <p:spPr>
          <a:xfrm>
            <a:off x="4394200" y="0"/>
            <a:ext cx="7798562" cy="6857873"/>
          </a:xfrm>
          <a:custGeom>
            <a:avLst/>
            <a:gdLst>
              <a:gd name="connsiteX0" fmla="*/ 4145915 w 7798562"/>
              <a:gd name="connsiteY0" fmla="*/ 0 h 6857873"/>
              <a:gd name="connsiteX1" fmla="*/ 7798562 w 7798562"/>
              <a:gd name="connsiteY1" fmla="*/ 0 h 6857873"/>
              <a:gd name="connsiteX2" fmla="*/ 7798562 w 7798562"/>
              <a:gd name="connsiteY2" fmla="*/ 6857873 h 6857873"/>
              <a:gd name="connsiteX3" fmla="*/ 21209 w 7798562"/>
              <a:gd name="connsiteY3" fmla="*/ 6857873 h 6857873"/>
              <a:gd name="connsiteX4" fmla="*/ 0 w 7798562"/>
              <a:gd name="connsiteY4" fmla="*/ 6672072 h 6857873"/>
              <a:gd name="connsiteX5" fmla="*/ 0 w 7798562"/>
              <a:gd name="connsiteY5" fmla="*/ 4185158 h 6857873"/>
              <a:gd name="connsiteX6" fmla="*/ 828929 w 7798562"/>
              <a:gd name="connsiteY6" fmla="*/ 3356229 h 6857873"/>
              <a:gd name="connsiteX7" fmla="*/ 3523234 w 7798562"/>
              <a:gd name="connsiteY7" fmla="*/ 3356229 h 6857873"/>
              <a:gd name="connsiteX8" fmla="*/ 4144899 w 7798562"/>
              <a:gd name="connsiteY8" fmla="*/ 2734564 h 6857873"/>
              <a:gd name="connsiteX9" fmla="*/ 4144899 w 7798562"/>
              <a:gd name="connsiteY9" fmla="*/ 40386 h 6857873"/>
              <a:gd name="connsiteX10" fmla="*/ 4145915 w 7798562"/>
              <a:gd name="connsiteY10" fmla="*/ 0 h 6857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98562" h="6857873">
                <a:moveTo>
                  <a:pt x="4145915" y="0"/>
                </a:moveTo>
                <a:lnTo>
                  <a:pt x="7798562" y="0"/>
                </a:lnTo>
                <a:lnTo>
                  <a:pt x="7798562" y="6857873"/>
                </a:lnTo>
                <a:lnTo>
                  <a:pt x="21209" y="6857873"/>
                </a:lnTo>
                <a:cubicBezTo>
                  <a:pt x="7493" y="6798183"/>
                  <a:pt x="0" y="6735953"/>
                  <a:pt x="0" y="6672072"/>
                </a:cubicBezTo>
                <a:lnTo>
                  <a:pt x="0" y="4185158"/>
                </a:lnTo>
                <a:cubicBezTo>
                  <a:pt x="0" y="3727323"/>
                  <a:pt x="371094" y="3356229"/>
                  <a:pt x="828929" y="3356229"/>
                </a:cubicBezTo>
                <a:lnTo>
                  <a:pt x="3523234" y="3356229"/>
                </a:lnTo>
                <a:cubicBezTo>
                  <a:pt x="3866515" y="3356229"/>
                  <a:pt x="4144899" y="3077972"/>
                  <a:pt x="4144899" y="2734564"/>
                </a:cubicBezTo>
                <a:lnTo>
                  <a:pt x="4144899" y="40386"/>
                </a:lnTo>
                <a:cubicBezTo>
                  <a:pt x="4144899" y="26797"/>
                  <a:pt x="4145280" y="13335"/>
                  <a:pt x="4145915" y="0"/>
                </a:cubicBezTo>
                <a:close/>
              </a:path>
            </a:pathLst>
          </a:custGeom>
        </p:spPr>
      </p:pic>
      <p:sp>
        <p:nvSpPr>
          <p:cNvPr id="6" name="Title 5">
            <a:extLst>
              <a:ext uri="{FF2B5EF4-FFF2-40B4-BE49-F238E27FC236}">
                <a16:creationId xmlns:a16="http://schemas.microsoft.com/office/drawing/2014/main" id="{AADA00A3-1949-BBC2-B834-FFE8121ED8D9}"/>
              </a:ext>
            </a:extLst>
          </p:cNvPr>
          <p:cNvSpPr>
            <a:spLocks noGrp="1"/>
          </p:cNvSpPr>
          <p:nvPr>
            <p:ph type="title" hasCustomPrompt="1"/>
          </p:nvPr>
        </p:nvSpPr>
        <p:spPr>
          <a:xfrm>
            <a:off x="360000" y="295200"/>
            <a:ext cx="7588800" cy="469910"/>
          </a:xfrm>
        </p:spPr>
        <p:txBody>
          <a:bodyPr/>
          <a:lstStyle/>
          <a:p>
            <a:r>
              <a:rPr lang="en-US" noProof="0"/>
              <a:t>Click to add title</a:t>
            </a:r>
            <a:endParaRPr lang="en-US"/>
          </a:p>
        </p:txBody>
      </p:sp>
      <p:sp>
        <p:nvSpPr>
          <p:cNvPr id="9" name="Text Placeholder sub">
            <a:extLst>
              <a:ext uri="{FF2B5EF4-FFF2-40B4-BE49-F238E27FC236}">
                <a16:creationId xmlns:a16="http://schemas.microsoft.com/office/drawing/2014/main" id="{6624D307-17AE-B860-B6BF-FBF2952BA7BA}"/>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60000" y="1706400"/>
            <a:ext cx="37040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4" name="Text Placeholder notes">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749200"/>
            <a:ext cx="3704000" cy="288000"/>
          </a:xfrm>
        </p:spPr>
        <p:txBody>
          <a:bodyPr anchor="b"/>
          <a:lstStyle>
            <a:lvl1pPr marL="0" indent="0">
              <a:buNone/>
              <a:defRPr sz="900" i="1">
                <a:solidFill>
                  <a:schemeClr val="tx1"/>
                </a:solidFill>
              </a:defRPr>
            </a:lvl1pPr>
          </a:lstStyle>
          <a:p>
            <a:pPr lvl="0"/>
            <a:r>
              <a:rPr lang="en-US"/>
              <a:t>Insert notes</a:t>
            </a:r>
          </a:p>
        </p:txBody>
      </p:sp>
      <p:sp>
        <p:nvSpPr>
          <p:cNvPr id="11" name="Legal dynamic" descr="{&quot;templafy&quot;:{&quot;id&quot;:&quot;3af3c2da-1f01-4f92-b42d-33018e8664b0&quot;}}" title="Form.Cigna_Confidentiality.EvernorthConfidentiality">
            <a:extLst>
              <a:ext uri="{FF2B5EF4-FFF2-40B4-BE49-F238E27FC236}">
                <a16:creationId xmlns:a16="http://schemas.microsoft.com/office/drawing/2014/main" id="{E9B1624F-A9FC-D14B-2D3A-07D3D3D27547}"/>
              </a:ext>
            </a:extLst>
          </p:cNvPr>
          <p:cNvSpPr/>
          <p:nvPr userDrawn="1"/>
        </p:nvSpPr>
        <p:spPr bwMode="white">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bg1"/>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0" name="Internal Stamp dynamic" descr="{&quot;templafy&quot;:{&quot;id&quot;:&quot;0313fda5-710b-4767-bbab-d038e6c3cf2e&quot;}}" title="Form.Cigna_Confidentiality.Cigna_confidentiality">
            <a:extLst>
              <a:ext uri="{FF2B5EF4-FFF2-40B4-BE49-F238E27FC236}">
                <a16:creationId xmlns:a16="http://schemas.microsoft.com/office/drawing/2014/main" id="{E6D63D2D-EACA-AE85-132A-145A0AD8CDDA}"/>
              </a:ext>
            </a:extLst>
          </p:cNvPr>
          <p:cNvSpPr/>
          <p:nvPr userDrawn="1"/>
        </p:nvSpPr>
        <p:spPr>
          <a:xfrm>
            <a:off x="2844000" y="6216565"/>
            <a:ext cx="140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accent3"/>
                </a:solidFill>
                <a:effectLst/>
                <a:latin typeface="Arial Narrow" panose="020B0604020202020204" pitchFamily="34" charset="0"/>
                <a:ea typeface="+mn-ea"/>
                <a:cs typeface="+mn-cs"/>
              </a:rPr>
              <a:t>For internal use only. Use and distribution limited solely to authorized personnel.</a:t>
            </a:r>
          </a:p>
        </p:txBody>
      </p:sp>
      <p:sp>
        <p:nvSpPr>
          <p:cNvPr id="5" name="Slide Number Placeholder 4">
            <a:extLst>
              <a:ext uri="{FF2B5EF4-FFF2-40B4-BE49-F238E27FC236}">
                <a16:creationId xmlns:a16="http://schemas.microsoft.com/office/drawing/2014/main" id="{18DB4F76-CF7B-A1C3-7AF9-A6971FBEC67D}"/>
              </a:ext>
            </a:extLst>
          </p:cNvPr>
          <p:cNvSpPr>
            <a:spLocks noGrp="1"/>
          </p:cNvSpPr>
          <p:nvPr>
            <p:ph type="sldNum" sz="quarter" idx="18"/>
          </p:nvPr>
        </p:nvSpPr>
        <p:spPr bwMode="white"/>
        <p:txBody>
          <a:bodyPr/>
          <a:lstStyle>
            <a:lvl1pPr>
              <a:defRPr>
                <a:solidFill>
                  <a:schemeClr val="bg1"/>
                </a:solidFill>
              </a:defRPr>
            </a:lvl1pPr>
          </a:lstStyle>
          <a:p>
            <a:fld id="{23AA811B-2EBD-4900-905E-5BE206449611}" type="slidenum">
              <a:rPr lang="en-US" smtClean="0"/>
              <a:pPr/>
              <a:t>‹#›</a:t>
            </a:fld>
            <a:endParaRPr lang="en-US"/>
          </a:p>
        </p:txBody>
      </p:sp>
      <p:sp>
        <p:nvSpPr>
          <p:cNvPr id="8" name="Date Placeholder 5">
            <a:extLst>
              <a:ext uri="{FF2B5EF4-FFF2-40B4-BE49-F238E27FC236}">
                <a16:creationId xmlns:a16="http://schemas.microsoft.com/office/drawing/2014/main" id="{A15775F7-299E-8775-41DE-B482B14FB24D}"/>
              </a:ext>
            </a:extLst>
          </p:cNvPr>
          <p:cNvSpPr>
            <a:spLocks noGrp="1"/>
          </p:cNvSpPr>
          <p:nvPr>
            <p:ph type="dt" sz="half" idx="13"/>
          </p:nvPr>
        </p:nvSpPr>
        <p:spPr>
          <a:xfrm>
            <a:off x="10630800" y="6364800"/>
            <a:ext cx="691200" cy="180000"/>
          </a:xfrm>
        </p:spPr>
        <p:txBody>
          <a:bodyPr/>
          <a:lstStyle>
            <a:lvl1pPr>
              <a:defRPr>
                <a:solidFill>
                  <a:schemeClr val="bg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275925878"/>
      </p:ext>
    </p:extLst>
  </p:cSld>
  <p:clrMapOvr>
    <a:masterClrMapping/>
  </p:clrMapOvr>
  <p:extLst>
    <p:ext uri="{DCECCB84-F9BA-43D5-87BE-67443E8EF086}">
      <p15:sldGuideLst xmlns:p15="http://schemas.microsoft.com/office/powerpoint/2012/main">
        <p15:guide id="1" orient="horz" pos="1074">
          <p15:clr>
            <a:srgbClr val="F26B43"/>
          </p15:clr>
        </p15:guide>
        <p15:guide id="2" orient="horz" pos="486">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 Content and Image color">
    <p:bg>
      <p:bgPr>
        <a:solidFill>
          <a:schemeClr val="bg2"/>
        </a:solidFill>
        <a:effectLst/>
      </p:bgPr>
    </p:bg>
    <p:spTree>
      <p:nvGrpSpPr>
        <p:cNvPr id="1" name=""/>
        <p:cNvGrpSpPr/>
        <p:nvPr/>
      </p:nvGrpSpPr>
      <p:grpSpPr>
        <a:xfrm>
          <a:off x="0" y="0"/>
          <a:ext cx="0" cy="0"/>
          <a:chOff x="0" y="0"/>
          <a:chExt cx="0" cy="0"/>
        </a:xfrm>
      </p:grpSpPr>
      <p:sp>
        <p:nvSpPr>
          <p:cNvPr id="7" name="Picture Placeholder 17">
            <a:extLst>
              <a:ext uri="{FF2B5EF4-FFF2-40B4-BE49-F238E27FC236}">
                <a16:creationId xmlns:a16="http://schemas.microsoft.com/office/drawing/2014/main" id="{BE3027AD-94E9-A768-4C15-96C5746FB951}"/>
              </a:ext>
            </a:extLst>
          </p:cNvPr>
          <p:cNvSpPr>
            <a:spLocks noGrp="1"/>
          </p:cNvSpPr>
          <p:nvPr>
            <p:ph type="pic" sz="quarter" idx="20"/>
          </p:nvPr>
        </p:nvSpPr>
        <p:spPr>
          <a:xfrm>
            <a:off x="8128000" y="1772816"/>
            <a:ext cx="3706811" cy="4264384"/>
          </a:xfrm>
          <a:prstGeom prst="roundRect">
            <a:avLst>
              <a:gd name="adj" fmla="val 9634"/>
            </a:avLst>
          </a:prstGeom>
          <a:solidFill>
            <a:schemeClr val="bg1">
              <a:lumMod val="75000"/>
            </a:schemeClr>
          </a:solidFill>
        </p:spPr>
        <p:txBody>
          <a:bodyPr wrap="square" tIns="576000" anchor="ctr" anchorCtr="0">
            <a:noAutofit/>
          </a:bodyPr>
          <a:lstStyle>
            <a:lvl1pPr marL="0" indent="0" algn="ctr">
              <a:buNone/>
              <a:defRPr sz="1600">
                <a:solidFill>
                  <a:schemeClr val="tx1"/>
                </a:solidFill>
              </a:defRPr>
            </a:lvl1pPr>
          </a:lstStyle>
          <a:p>
            <a:r>
              <a:rPr lang="en-US"/>
              <a:t>Click icon to add picture</a:t>
            </a:r>
          </a:p>
        </p:txBody>
      </p:sp>
      <p:sp>
        <p:nvSpPr>
          <p:cNvPr id="6" name="Title 5">
            <a:extLst>
              <a:ext uri="{FF2B5EF4-FFF2-40B4-BE49-F238E27FC236}">
                <a16:creationId xmlns:a16="http://schemas.microsoft.com/office/drawing/2014/main" id="{AADA00A3-1949-BBC2-B834-FFE8121ED8D9}"/>
              </a:ext>
            </a:extLst>
          </p:cNvPr>
          <p:cNvSpPr>
            <a:spLocks noGrp="1"/>
          </p:cNvSpPr>
          <p:nvPr>
            <p:ph type="title" hasCustomPrompt="1"/>
          </p:nvPr>
        </p:nvSpPr>
        <p:spPr>
          <a:xfrm>
            <a:off x="360000" y="295200"/>
            <a:ext cx="7588800" cy="469910"/>
          </a:xfrm>
        </p:spPr>
        <p:txBody>
          <a:bodyPr/>
          <a:lstStyle/>
          <a:p>
            <a:r>
              <a:rPr lang="en-US" noProof="0"/>
              <a:t>Click to add title</a:t>
            </a:r>
            <a:endParaRPr lang="en-US"/>
          </a:p>
        </p:txBody>
      </p:sp>
      <p:sp>
        <p:nvSpPr>
          <p:cNvPr id="9" name="Text Placeholder sub">
            <a:extLst>
              <a:ext uri="{FF2B5EF4-FFF2-40B4-BE49-F238E27FC236}">
                <a16:creationId xmlns:a16="http://schemas.microsoft.com/office/drawing/2014/main" id="{6624D307-17AE-B860-B6BF-FBF2952BA7BA}"/>
              </a:ext>
            </a:extLst>
          </p:cNvPr>
          <p:cNvSpPr>
            <a:spLocks noGrp="1"/>
          </p:cNvSpPr>
          <p:nvPr>
            <p:ph type="body" sz="quarter" idx="19" hasCustomPrompt="1"/>
          </p:nvPr>
        </p:nvSpPr>
        <p:spPr>
          <a:xfrm>
            <a:off x="360000" y="769232"/>
            <a:ext cx="7588800" cy="935743"/>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60000" y="1706400"/>
            <a:ext cx="7588800" cy="40428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4" name="Text Placeholder notes">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749200"/>
            <a:ext cx="75888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18DB4F76-CF7B-A1C3-7AF9-A6971FBEC67D}"/>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2" name="Date Placeholder 5">
            <a:extLst>
              <a:ext uri="{FF2B5EF4-FFF2-40B4-BE49-F238E27FC236}">
                <a16:creationId xmlns:a16="http://schemas.microsoft.com/office/drawing/2014/main" id="{811FE2AB-3F21-C3B2-60BD-245C08E2C7A2}"/>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6546488"/>
      </p:ext>
    </p:extLst>
  </p:cSld>
  <p:clrMapOvr>
    <a:masterClrMapping/>
  </p:clrMapOvr>
  <p:extLst>
    <p:ext uri="{DCECCB84-F9BA-43D5-87BE-67443E8EF086}">
      <p15:sldGuideLst xmlns:p15="http://schemas.microsoft.com/office/powerpoint/2012/main">
        <p15:guide id="1" orient="horz" pos="1074">
          <p15:clr>
            <a:srgbClr val="F26B43"/>
          </p15:clr>
        </p15:guide>
        <p15:guide id="2" orient="horz" pos="486">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 3 Content and Images color">
    <p:bg>
      <p:bgPr>
        <a:solidFill>
          <a:schemeClr val="bg2"/>
        </a:solidFill>
        <a:effectLst/>
      </p:bgPr>
    </p:bg>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6CFF692D-A41B-5DAE-DC12-1E2A739A2195}"/>
              </a:ext>
            </a:extLst>
          </p:cNvPr>
          <p:cNvSpPr>
            <a:spLocks noGrp="1"/>
          </p:cNvSpPr>
          <p:nvPr>
            <p:ph type="pic" sz="quarter" idx="11"/>
          </p:nvPr>
        </p:nvSpPr>
        <p:spPr>
          <a:xfrm>
            <a:off x="358774" y="1493973"/>
            <a:ext cx="3704400" cy="2206800"/>
          </a:xfrm>
          <a:prstGeom prst="roundRect">
            <a:avLst>
              <a:gd name="adj" fmla="val 10792"/>
            </a:avLst>
          </a:prstGeom>
          <a:solidFill>
            <a:schemeClr val="bg1">
              <a:lumMod val="75000"/>
            </a:schemeClr>
          </a:solidFill>
        </p:spPr>
        <p:txBody>
          <a:bodyPr tIns="576000" anchor="ctr"/>
          <a:lstStyle>
            <a:lvl1pPr marL="0" indent="0" algn="ctr">
              <a:buNone/>
              <a:defRPr sz="1200">
                <a:solidFill>
                  <a:schemeClr val="tx1"/>
                </a:solidFill>
                <a:latin typeface="+mn-lt"/>
              </a:defRPr>
            </a:lvl1pPr>
          </a:lstStyle>
          <a:p>
            <a:r>
              <a:rPr lang="en-US"/>
              <a:t>Click icon to add picture</a:t>
            </a:r>
          </a:p>
        </p:txBody>
      </p:sp>
      <p:sp>
        <p:nvSpPr>
          <p:cNvPr id="13" name="Picture Placeholder 7">
            <a:extLst>
              <a:ext uri="{FF2B5EF4-FFF2-40B4-BE49-F238E27FC236}">
                <a16:creationId xmlns:a16="http://schemas.microsoft.com/office/drawing/2014/main" id="{8CD27472-1C1C-7DB5-8520-A778835F23D9}"/>
              </a:ext>
            </a:extLst>
          </p:cNvPr>
          <p:cNvSpPr>
            <a:spLocks noGrp="1"/>
          </p:cNvSpPr>
          <p:nvPr>
            <p:ph type="pic" sz="quarter" idx="21"/>
          </p:nvPr>
        </p:nvSpPr>
        <p:spPr>
          <a:xfrm>
            <a:off x="4243387" y="1493973"/>
            <a:ext cx="3704400" cy="2206800"/>
          </a:xfrm>
          <a:prstGeom prst="roundRect">
            <a:avLst>
              <a:gd name="adj" fmla="val 10792"/>
            </a:avLst>
          </a:prstGeom>
          <a:solidFill>
            <a:schemeClr val="bg1">
              <a:lumMod val="75000"/>
            </a:schemeClr>
          </a:solidFill>
        </p:spPr>
        <p:txBody>
          <a:bodyPr tIns="576000" anchor="ctr"/>
          <a:lstStyle>
            <a:lvl1pPr marL="0" indent="0" algn="ctr">
              <a:buNone/>
              <a:defRPr sz="1200">
                <a:solidFill>
                  <a:schemeClr val="tx1"/>
                </a:solidFill>
                <a:latin typeface="+mn-lt"/>
              </a:defRPr>
            </a:lvl1pPr>
          </a:lstStyle>
          <a:p>
            <a:r>
              <a:rPr lang="en-US"/>
              <a:t>Click icon to add picture</a:t>
            </a:r>
          </a:p>
        </p:txBody>
      </p:sp>
      <p:sp>
        <p:nvSpPr>
          <p:cNvPr id="14" name="Picture Placeholder 7">
            <a:extLst>
              <a:ext uri="{FF2B5EF4-FFF2-40B4-BE49-F238E27FC236}">
                <a16:creationId xmlns:a16="http://schemas.microsoft.com/office/drawing/2014/main" id="{85753AAB-BEA0-A5BA-56EA-816BE2951FEA}"/>
              </a:ext>
            </a:extLst>
          </p:cNvPr>
          <p:cNvSpPr>
            <a:spLocks noGrp="1"/>
          </p:cNvSpPr>
          <p:nvPr>
            <p:ph type="pic" sz="quarter" idx="22"/>
          </p:nvPr>
        </p:nvSpPr>
        <p:spPr>
          <a:xfrm>
            <a:off x="8128000" y="1493973"/>
            <a:ext cx="3704400" cy="2206800"/>
          </a:xfrm>
          <a:prstGeom prst="roundRect">
            <a:avLst>
              <a:gd name="adj" fmla="val 10792"/>
            </a:avLst>
          </a:prstGeom>
          <a:solidFill>
            <a:schemeClr val="bg1">
              <a:lumMod val="75000"/>
            </a:schemeClr>
          </a:solidFill>
        </p:spPr>
        <p:txBody>
          <a:bodyPr tIns="576000" anchor="ctr"/>
          <a:lstStyle>
            <a:lvl1pPr marL="0" indent="0" algn="ctr">
              <a:buNone/>
              <a:defRPr sz="1200">
                <a:solidFill>
                  <a:schemeClr val="tx1"/>
                </a:solidFill>
                <a:latin typeface="+mn-lt"/>
              </a:defRPr>
            </a:lvl1pPr>
          </a:lstStyle>
          <a:p>
            <a:r>
              <a:rPr lang="en-US"/>
              <a:t>Click icon to add picture</a:t>
            </a:r>
          </a:p>
        </p:txBody>
      </p:sp>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540000"/>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59999" y="4402111"/>
            <a:ext cx="3704400" cy="13462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5" name="Text Placeholder sub 2">
            <a:extLst>
              <a:ext uri="{FF2B5EF4-FFF2-40B4-BE49-F238E27FC236}">
                <a16:creationId xmlns:a16="http://schemas.microsoft.com/office/drawing/2014/main" id="{86CA2E7B-9B5A-23C0-3C0B-4E9778ED1A5A}"/>
              </a:ext>
            </a:extLst>
          </p:cNvPr>
          <p:cNvSpPr>
            <a:spLocks noGrp="1"/>
          </p:cNvSpPr>
          <p:nvPr>
            <p:ph type="body" sz="quarter" idx="23" hasCustomPrompt="1"/>
          </p:nvPr>
        </p:nvSpPr>
        <p:spPr>
          <a:xfrm>
            <a:off x="359998" y="4002454"/>
            <a:ext cx="3704400" cy="398096"/>
          </a:xfrm>
        </p:spPr>
        <p:txBody>
          <a:bodyPr anchor="t" anchorCtr="0"/>
          <a:lstStyle>
            <a:lvl1pPr marL="0" indent="0">
              <a:lnSpc>
                <a:spcPct val="100000"/>
              </a:lnSpc>
              <a:spcBef>
                <a:spcPts val="0"/>
              </a:spcBef>
              <a:spcAft>
                <a:spcPts val="0"/>
              </a:spcAft>
              <a:buNone/>
              <a:defRPr sz="1400" b="1" cap="none" spc="0" baseline="0">
                <a:solidFill>
                  <a:schemeClr val="accent3"/>
                </a:solidFill>
                <a:latin typeface="+mn-lt"/>
              </a:defRPr>
            </a:lvl1pPr>
          </a:lstStyle>
          <a:p>
            <a:pPr lvl="0"/>
            <a:r>
              <a:rPr lang="en-US"/>
              <a:t>Click to add sub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243387" y="4402111"/>
            <a:ext cx="3704400" cy="13462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6" name="Text Placeholder sub 3">
            <a:extLst>
              <a:ext uri="{FF2B5EF4-FFF2-40B4-BE49-F238E27FC236}">
                <a16:creationId xmlns:a16="http://schemas.microsoft.com/office/drawing/2014/main" id="{B8571102-3BDF-DF66-5A11-3465B3F62A1D}"/>
              </a:ext>
            </a:extLst>
          </p:cNvPr>
          <p:cNvSpPr>
            <a:spLocks noGrp="1"/>
          </p:cNvSpPr>
          <p:nvPr>
            <p:ph type="body" sz="quarter" idx="24" hasCustomPrompt="1"/>
          </p:nvPr>
        </p:nvSpPr>
        <p:spPr>
          <a:xfrm>
            <a:off x="4243387" y="4002454"/>
            <a:ext cx="3704400" cy="398096"/>
          </a:xfrm>
        </p:spPr>
        <p:txBody>
          <a:bodyPr anchor="t" anchorCtr="0"/>
          <a:lstStyle>
            <a:lvl1pPr marL="0" indent="0">
              <a:lnSpc>
                <a:spcPct val="100000"/>
              </a:lnSpc>
              <a:spcBef>
                <a:spcPts val="0"/>
              </a:spcBef>
              <a:spcAft>
                <a:spcPts val="0"/>
              </a:spcAft>
              <a:buNone/>
              <a:defRPr sz="1400" b="1" cap="none" spc="0" baseline="0">
                <a:solidFill>
                  <a:schemeClr val="accent3"/>
                </a:solidFill>
                <a:latin typeface="+mn-lt"/>
              </a:defRPr>
            </a:lvl1pPr>
          </a:lstStyle>
          <a:p>
            <a:pPr lvl="0"/>
            <a:r>
              <a:rPr lang="en-US"/>
              <a:t>Click to add subtitle</a:t>
            </a:r>
          </a:p>
        </p:txBody>
      </p:sp>
      <p:sp>
        <p:nvSpPr>
          <p:cNvPr id="8" name="Content Placeholder 4">
            <a:extLst>
              <a:ext uri="{FF2B5EF4-FFF2-40B4-BE49-F238E27FC236}">
                <a16:creationId xmlns:a16="http://schemas.microsoft.com/office/drawing/2014/main" id="{AB022DFF-8F16-4A61-9B0B-DD1E6316615B}"/>
              </a:ext>
            </a:extLst>
          </p:cNvPr>
          <p:cNvSpPr>
            <a:spLocks noGrp="1"/>
          </p:cNvSpPr>
          <p:nvPr>
            <p:ph sz="half" idx="20" hasCustomPrompt="1"/>
          </p:nvPr>
        </p:nvSpPr>
        <p:spPr>
          <a:xfrm>
            <a:off x="8128000" y="4402111"/>
            <a:ext cx="3704400" cy="13462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7" name="Text Placeholder sub 4">
            <a:extLst>
              <a:ext uri="{FF2B5EF4-FFF2-40B4-BE49-F238E27FC236}">
                <a16:creationId xmlns:a16="http://schemas.microsoft.com/office/drawing/2014/main" id="{C98340A6-A646-DE65-D0FA-EEA832AD3494}"/>
              </a:ext>
            </a:extLst>
          </p:cNvPr>
          <p:cNvSpPr>
            <a:spLocks noGrp="1"/>
          </p:cNvSpPr>
          <p:nvPr>
            <p:ph type="body" sz="quarter" idx="25" hasCustomPrompt="1"/>
          </p:nvPr>
        </p:nvSpPr>
        <p:spPr>
          <a:xfrm>
            <a:off x="8128000" y="4002454"/>
            <a:ext cx="3704400" cy="398096"/>
          </a:xfrm>
        </p:spPr>
        <p:txBody>
          <a:bodyPr anchor="t" anchorCtr="0"/>
          <a:lstStyle>
            <a:lvl1pPr marL="0" indent="0">
              <a:lnSpc>
                <a:spcPct val="100000"/>
              </a:lnSpc>
              <a:spcBef>
                <a:spcPts val="0"/>
              </a:spcBef>
              <a:spcAft>
                <a:spcPts val="0"/>
              </a:spcAft>
              <a:buNone/>
              <a:defRPr sz="1400" b="1" cap="none" spc="0" baseline="0">
                <a:solidFill>
                  <a:schemeClr val="accent3"/>
                </a:solidFill>
                <a:latin typeface="+mn-lt"/>
              </a:defRPr>
            </a:lvl1pPr>
          </a:lstStyle>
          <a:p>
            <a:pPr lvl="0"/>
            <a:r>
              <a:rPr lang="en-US"/>
              <a:t>Click to add subtitle</a:t>
            </a:r>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9600"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96E17E89-FC55-3098-D759-3358E33BBC29}"/>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065640041"/>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940">
          <p15:clr>
            <a:srgbClr val="A4A3A4"/>
          </p15:clr>
        </p15:guide>
        <p15:guide id="3" orient="horz" pos="2331">
          <p15:clr>
            <a:srgbClr val="A4A3A4"/>
          </p15:clr>
        </p15:guide>
        <p15:guide id="4" orient="horz" pos="2518">
          <p15:clr>
            <a:srgbClr val="F26B43"/>
          </p15:clr>
        </p15:guide>
        <p15:guide id="5" orient="horz" pos="2772">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 4 col_content and icon colo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612000"/>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3" name="Content Placeholder 2"/>
          <p:cNvSpPr>
            <a:spLocks noGrp="1"/>
          </p:cNvSpPr>
          <p:nvPr>
            <p:ph idx="1" hasCustomPrompt="1"/>
          </p:nvPr>
        </p:nvSpPr>
        <p:spPr>
          <a:xfrm>
            <a:off x="359999" y="2509594"/>
            <a:ext cx="2732451" cy="32387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273576" y="2509594"/>
            <a:ext cx="2732400" cy="32387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6187102" y="2509594"/>
            <a:ext cx="2732400" cy="32387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p:txBody>
      </p:sp>
      <p:sp>
        <p:nvSpPr>
          <p:cNvPr id="12" name="Content Placeholder 3">
            <a:extLst>
              <a:ext uri="{FF2B5EF4-FFF2-40B4-BE49-F238E27FC236}">
                <a16:creationId xmlns:a16="http://schemas.microsoft.com/office/drawing/2014/main" id="{405546E1-7BF8-F03B-5530-1D7898C62B33}"/>
              </a:ext>
            </a:extLst>
          </p:cNvPr>
          <p:cNvSpPr>
            <a:spLocks noGrp="1"/>
          </p:cNvSpPr>
          <p:nvPr>
            <p:ph sz="half" idx="21" hasCustomPrompt="1"/>
          </p:nvPr>
        </p:nvSpPr>
        <p:spPr>
          <a:xfrm>
            <a:off x="9100629" y="2509594"/>
            <a:ext cx="2732400" cy="32387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p:txBody>
      </p:sp>
      <p:sp>
        <p:nvSpPr>
          <p:cNvPr id="13" name="Content Placeholder 12">
            <a:extLst>
              <a:ext uri="{FF2B5EF4-FFF2-40B4-BE49-F238E27FC236}">
                <a16:creationId xmlns:a16="http://schemas.microsoft.com/office/drawing/2014/main" id="{F3234D57-AF53-E0DB-C937-D18B2FD0C742}"/>
              </a:ext>
            </a:extLst>
          </p:cNvPr>
          <p:cNvSpPr>
            <a:spLocks noGrp="1"/>
          </p:cNvSpPr>
          <p:nvPr>
            <p:ph sz="quarter" idx="22" hasCustomPrompt="1"/>
          </p:nvPr>
        </p:nvSpPr>
        <p:spPr>
          <a:xfrm>
            <a:off x="360000" y="1845281"/>
            <a:ext cx="540000" cy="540000"/>
          </a:xfrm>
        </p:spPr>
        <p:txBody>
          <a:bodyPr lIns="0" bIns="1404000"/>
          <a:lstStyle>
            <a:lvl1pPr marL="0" indent="0">
              <a:lnSpc>
                <a:spcPct val="80000"/>
              </a:lnSpc>
              <a:spcAft>
                <a:spcPts val="0"/>
              </a:spcAft>
              <a:buNone/>
              <a:defRPr sz="900"/>
            </a:lvl1pPr>
          </a:lstStyle>
          <a:p>
            <a:pPr lvl="0"/>
            <a:r>
              <a:rPr lang="en-US"/>
              <a:t>Click on Picture icon to insert icon</a:t>
            </a:r>
          </a:p>
        </p:txBody>
      </p:sp>
      <p:sp>
        <p:nvSpPr>
          <p:cNvPr id="14" name="Content Placeholder 12">
            <a:extLst>
              <a:ext uri="{FF2B5EF4-FFF2-40B4-BE49-F238E27FC236}">
                <a16:creationId xmlns:a16="http://schemas.microsoft.com/office/drawing/2014/main" id="{B95D790D-95CB-A96F-5C58-23F1105FE4B8}"/>
              </a:ext>
            </a:extLst>
          </p:cNvPr>
          <p:cNvSpPr>
            <a:spLocks noGrp="1"/>
          </p:cNvSpPr>
          <p:nvPr>
            <p:ph sz="quarter" idx="23" hasCustomPrompt="1"/>
          </p:nvPr>
        </p:nvSpPr>
        <p:spPr>
          <a:xfrm>
            <a:off x="3273576" y="1845281"/>
            <a:ext cx="540000" cy="540000"/>
          </a:xfrm>
        </p:spPr>
        <p:txBody>
          <a:bodyPr lIns="0" bIns="1404000"/>
          <a:lstStyle>
            <a:lvl1pPr marL="0" indent="0">
              <a:lnSpc>
                <a:spcPct val="80000"/>
              </a:lnSpc>
              <a:spcAft>
                <a:spcPts val="0"/>
              </a:spcAft>
              <a:buNone/>
              <a:defRPr sz="900"/>
            </a:lvl1pPr>
          </a:lstStyle>
          <a:p>
            <a:pPr lvl="0"/>
            <a:r>
              <a:rPr lang="en-US"/>
              <a:t>Click on Picture icon to insert icon</a:t>
            </a:r>
          </a:p>
        </p:txBody>
      </p:sp>
      <p:sp>
        <p:nvSpPr>
          <p:cNvPr id="15" name="Content Placeholder 12">
            <a:extLst>
              <a:ext uri="{FF2B5EF4-FFF2-40B4-BE49-F238E27FC236}">
                <a16:creationId xmlns:a16="http://schemas.microsoft.com/office/drawing/2014/main" id="{CA4F82EB-2F71-355A-EA48-B2286BC5B6BA}"/>
              </a:ext>
            </a:extLst>
          </p:cNvPr>
          <p:cNvSpPr>
            <a:spLocks noGrp="1"/>
          </p:cNvSpPr>
          <p:nvPr>
            <p:ph sz="quarter" idx="24" hasCustomPrompt="1"/>
          </p:nvPr>
        </p:nvSpPr>
        <p:spPr>
          <a:xfrm>
            <a:off x="6187102" y="1845281"/>
            <a:ext cx="540000" cy="540000"/>
          </a:xfrm>
        </p:spPr>
        <p:txBody>
          <a:bodyPr lIns="0" bIns="1404000"/>
          <a:lstStyle>
            <a:lvl1pPr marL="0" indent="0">
              <a:lnSpc>
                <a:spcPct val="80000"/>
              </a:lnSpc>
              <a:spcAft>
                <a:spcPts val="0"/>
              </a:spcAft>
              <a:buNone/>
              <a:defRPr sz="900"/>
            </a:lvl1pPr>
          </a:lstStyle>
          <a:p>
            <a:pPr lvl="0"/>
            <a:r>
              <a:rPr lang="en-US"/>
              <a:t>Click on Picture icon to insert icon</a:t>
            </a:r>
          </a:p>
        </p:txBody>
      </p:sp>
      <p:sp>
        <p:nvSpPr>
          <p:cNvPr id="16" name="Content Placeholder 12">
            <a:extLst>
              <a:ext uri="{FF2B5EF4-FFF2-40B4-BE49-F238E27FC236}">
                <a16:creationId xmlns:a16="http://schemas.microsoft.com/office/drawing/2014/main" id="{A894763A-0742-A455-9D20-0C9F741B396B}"/>
              </a:ext>
            </a:extLst>
          </p:cNvPr>
          <p:cNvSpPr>
            <a:spLocks noGrp="1"/>
          </p:cNvSpPr>
          <p:nvPr>
            <p:ph sz="quarter" idx="25" hasCustomPrompt="1"/>
          </p:nvPr>
        </p:nvSpPr>
        <p:spPr>
          <a:xfrm>
            <a:off x="9100629" y="1845281"/>
            <a:ext cx="540000" cy="540000"/>
          </a:xfrm>
        </p:spPr>
        <p:txBody>
          <a:bodyPr lIns="0" bIns="1404000"/>
          <a:lstStyle>
            <a:lvl1pPr marL="0" indent="0">
              <a:lnSpc>
                <a:spcPct val="80000"/>
              </a:lnSpc>
              <a:spcAft>
                <a:spcPts val="0"/>
              </a:spcAft>
              <a:buNone/>
              <a:defRPr sz="900"/>
            </a:lvl1pPr>
          </a:lstStyle>
          <a:p>
            <a:pPr lvl="0"/>
            <a:r>
              <a:rPr lang="en-US"/>
              <a:t>Click on Picture icon to insert icon</a:t>
            </a:r>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3DAF339A-A861-483F-C740-2EBFC1E3E47F}"/>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583633499"/>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579">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 4 col_content and icon colo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95200"/>
            <a:ext cx="7588800" cy="471600"/>
          </a:xfrm>
        </p:spPr>
        <p:txBody>
          <a:bodyPr/>
          <a:lstStyle>
            <a:lvl1pPr>
              <a:defRPr>
                <a:solidFill>
                  <a:schemeClr val="accent3"/>
                </a:solidFill>
              </a:defRPr>
            </a:lvl1pPr>
          </a:lstStyle>
          <a:p>
            <a:r>
              <a:rPr lang="en-US" noProof="0"/>
              <a:t>Click to add title</a:t>
            </a:r>
            <a:endParaRPr lang="en-US"/>
          </a:p>
        </p:txBody>
      </p:sp>
      <p:sp>
        <p:nvSpPr>
          <p:cNvPr id="6" name="Text Placeholder sub">
            <a:extLst>
              <a:ext uri="{FF2B5EF4-FFF2-40B4-BE49-F238E27FC236}">
                <a16:creationId xmlns:a16="http://schemas.microsoft.com/office/drawing/2014/main" id="{A3D8B013-EDFB-C349-E68E-1D19817723BD}"/>
              </a:ext>
            </a:extLst>
          </p:cNvPr>
          <p:cNvSpPr>
            <a:spLocks noGrp="1"/>
          </p:cNvSpPr>
          <p:nvPr>
            <p:ph type="body" sz="quarter" idx="19" hasCustomPrompt="1"/>
          </p:nvPr>
        </p:nvSpPr>
        <p:spPr>
          <a:xfrm>
            <a:off x="360000" y="769232"/>
            <a:ext cx="7588800" cy="612000"/>
          </a:xfrm>
        </p:spPr>
        <p:txBody>
          <a:bodyPr anchor="t" anchorCtr="0"/>
          <a:lstStyle>
            <a:lvl1pPr marL="0" indent="0">
              <a:lnSpc>
                <a:spcPct val="100000"/>
              </a:lnSpc>
              <a:spcBef>
                <a:spcPts val="0"/>
              </a:spcBef>
              <a:spcAft>
                <a:spcPts val="0"/>
              </a:spcAft>
              <a:buNone/>
              <a:defRPr sz="1800" cap="none" spc="0" baseline="0">
                <a:solidFill>
                  <a:schemeClr val="accent3"/>
                </a:solidFill>
                <a:latin typeface="+mn-lt"/>
              </a:defRPr>
            </a:lvl1pPr>
          </a:lstStyle>
          <a:p>
            <a:pPr lvl="0"/>
            <a:r>
              <a:rPr lang="en-US"/>
              <a:t>Click to add subtitle</a:t>
            </a:r>
          </a:p>
        </p:txBody>
      </p:sp>
      <p:sp>
        <p:nvSpPr>
          <p:cNvPr id="17" name="Text Placeholder 16">
            <a:extLst>
              <a:ext uri="{FF2B5EF4-FFF2-40B4-BE49-F238E27FC236}">
                <a16:creationId xmlns:a16="http://schemas.microsoft.com/office/drawing/2014/main" id="{3F4B2A4F-AE05-BB2D-2F94-020FF0E32648}"/>
              </a:ext>
            </a:extLst>
          </p:cNvPr>
          <p:cNvSpPr>
            <a:spLocks noGrp="1"/>
          </p:cNvSpPr>
          <p:nvPr>
            <p:ph type="body" sz="quarter" idx="26" hasCustomPrompt="1"/>
          </p:nvPr>
        </p:nvSpPr>
        <p:spPr>
          <a:xfrm>
            <a:off x="358775" y="2154677"/>
            <a:ext cx="2732400" cy="821886"/>
          </a:xfrm>
        </p:spPr>
        <p:txBody>
          <a:bodyPr/>
          <a:lstStyle>
            <a:lvl1pPr marL="0" indent="0">
              <a:lnSpc>
                <a:spcPct val="100000"/>
              </a:lnSpc>
              <a:spcBef>
                <a:spcPts val="0"/>
              </a:spcBef>
              <a:spcAft>
                <a:spcPts val="0"/>
              </a:spcAft>
              <a:buNone/>
              <a:defRPr sz="4800" b="0">
                <a:solidFill>
                  <a:schemeClr val="accent2"/>
                </a:solidFill>
                <a:latin typeface="+mn-lt"/>
              </a:defRPr>
            </a:lvl1pPr>
            <a:lvl2pPr marL="0" indent="0">
              <a:lnSpc>
                <a:spcPct val="100000"/>
              </a:lnSpc>
              <a:spcBef>
                <a:spcPts val="0"/>
              </a:spcBef>
              <a:spcAft>
                <a:spcPts val="0"/>
              </a:spcAft>
              <a:buNone/>
              <a:defRPr sz="4800" b="0">
                <a:solidFill>
                  <a:schemeClr val="accent2"/>
                </a:solidFill>
                <a:latin typeface="+mn-lt"/>
              </a:defRPr>
            </a:lvl2pPr>
            <a:lvl3pPr marL="0" indent="0">
              <a:lnSpc>
                <a:spcPct val="100000"/>
              </a:lnSpc>
              <a:spcBef>
                <a:spcPts val="0"/>
              </a:spcBef>
              <a:spcAft>
                <a:spcPts val="0"/>
              </a:spcAft>
              <a:buNone/>
              <a:defRPr sz="4800" b="0">
                <a:solidFill>
                  <a:schemeClr val="accent2"/>
                </a:solidFill>
                <a:latin typeface="+mn-lt"/>
              </a:defRPr>
            </a:lvl3pPr>
            <a:lvl4pPr marL="0">
              <a:lnSpc>
                <a:spcPct val="100000"/>
              </a:lnSpc>
              <a:spcBef>
                <a:spcPts val="0"/>
              </a:spcBef>
              <a:spcAft>
                <a:spcPts val="0"/>
              </a:spcAft>
              <a:buNone/>
              <a:defRPr sz="4800" b="0">
                <a:solidFill>
                  <a:schemeClr val="accent2"/>
                </a:solidFill>
                <a:latin typeface="+mn-lt"/>
              </a:defRPr>
            </a:lvl4pPr>
            <a:lvl5pPr marL="0">
              <a:lnSpc>
                <a:spcPct val="100000"/>
              </a:lnSpc>
              <a:spcBef>
                <a:spcPts val="0"/>
              </a:spcBef>
              <a:spcAft>
                <a:spcPts val="0"/>
              </a:spcAft>
              <a:buNone/>
              <a:defRPr sz="4800" b="0">
                <a:solidFill>
                  <a:schemeClr val="accent2"/>
                </a:solidFill>
                <a:latin typeface="+mn-lt"/>
              </a:defRPr>
            </a:lvl5pPr>
            <a:lvl6pPr marL="0" indent="0">
              <a:lnSpc>
                <a:spcPct val="100000"/>
              </a:lnSpc>
              <a:spcBef>
                <a:spcPts val="0"/>
              </a:spcBef>
              <a:spcAft>
                <a:spcPts val="0"/>
              </a:spcAft>
              <a:buNone/>
              <a:defRPr sz="4800" b="0">
                <a:solidFill>
                  <a:schemeClr val="accent2"/>
                </a:solidFill>
                <a:latin typeface="+mn-lt"/>
              </a:defRPr>
            </a:lvl6pPr>
            <a:lvl7pPr marL="0">
              <a:lnSpc>
                <a:spcPct val="100000"/>
              </a:lnSpc>
              <a:spcBef>
                <a:spcPts val="0"/>
              </a:spcBef>
              <a:spcAft>
                <a:spcPts val="0"/>
              </a:spcAft>
              <a:buNone/>
              <a:defRPr sz="4800" b="0">
                <a:solidFill>
                  <a:schemeClr val="accent2"/>
                </a:solidFill>
                <a:latin typeface="+mn-lt"/>
              </a:defRPr>
            </a:lvl7pPr>
            <a:lvl8pPr marL="0">
              <a:lnSpc>
                <a:spcPct val="100000"/>
              </a:lnSpc>
              <a:spcBef>
                <a:spcPts val="0"/>
              </a:spcBef>
              <a:spcAft>
                <a:spcPts val="0"/>
              </a:spcAft>
              <a:buNone/>
              <a:defRPr sz="4800" b="0">
                <a:solidFill>
                  <a:schemeClr val="accent2"/>
                </a:solidFill>
                <a:latin typeface="+mn-lt"/>
              </a:defRPr>
            </a:lvl8pPr>
            <a:lvl9pPr marL="0">
              <a:lnSpc>
                <a:spcPct val="100000"/>
              </a:lnSpc>
              <a:spcBef>
                <a:spcPts val="0"/>
              </a:spcBef>
              <a:spcAft>
                <a:spcPts val="0"/>
              </a:spcAft>
              <a:buNone/>
              <a:defRPr sz="4800" b="0">
                <a:solidFill>
                  <a:schemeClr val="accent2"/>
                </a:solidFill>
                <a:latin typeface="+mn-lt"/>
              </a:defRPr>
            </a:lvl9pPr>
          </a:lstStyle>
          <a:p>
            <a:pPr lvl="0"/>
            <a:r>
              <a:rPr lang="en-US" noProof="0"/>
              <a:t>xx%</a:t>
            </a:r>
            <a:endParaRPr lang="en-US"/>
          </a:p>
        </p:txBody>
      </p:sp>
      <p:sp>
        <p:nvSpPr>
          <p:cNvPr id="3" name="Content Placeholder 2"/>
          <p:cNvSpPr>
            <a:spLocks noGrp="1"/>
          </p:cNvSpPr>
          <p:nvPr>
            <p:ph idx="1" hasCustomPrompt="1"/>
          </p:nvPr>
        </p:nvSpPr>
        <p:spPr>
          <a:xfrm>
            <a:off x="359999" y="2979997"/>
            <a:ext cx="2732400" cy="27683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Text Placeholder 16">
            <a:extLst>
              <a:ext uri="{FF2B5EF4-FFF2-40B4-BE49-F238E27FC236}">
                <a16:creationId xmlns:a16="http://schemas.microsoft.com/office/drawing/2014/main" id="{603EA300-63BA-5800-5BBF-278E313431B8}"/>
              </a:ext>
            </a:extLst>
          </p:cNvPr>
          <p:cNvSpPr>
            <a:spLocks noGrp="1"/>
          </p:cNvSpPr>
          <p:nvPr>
            <p:ph type="body" sz="quarter" idx="27" hasCustomPrompt="1"/>
          </p:nvPr>
        </p:nvSpPr>
        <p:spPr>
          <a:xfrm>
            <a:off x="3273576" y="2154677"/>
            <a:ext cx="2732400" cy="821886"/>
          </a:xfrm>
        </p:spPr>
        <p:txBody>
          <a:bodyPr/>
          <a:lstStyle>
            <a:lvl1pPr marL="0" indent="0">
              <a:lnSpc>
                <a:spcPct val="100000"/>
              </a:lnSpc>
              <a:spcBef>
                <a:spcPts val="0"/>
              </a:spcBef>
              <a:spcAft>
                <a:spcPts val="0"/>
              </a:spcAft>
              <a:buNone/>
              <a:defRPr sz="4800" b="0">
                <a:solidFill>
                  <a:schemeClr val="accent2"/>
                </a:solidFill>
                <a:latin typeface="+mn-lt"/>
              </a:defRPr>
            </a:lvl1pPr>
            <a:lvl2pPr marL="0" indent="0">
              <a:lnSpc>
                <a:spcPct val="100000"/>
              </a:lnSpc>
              <a:spcBef>
                <a:spcPts val="0"/>
              </a:spcBef>
              <a:spcAft>
                <a:spcPts val="0"/>
              </a:spcAft>
              <a:buNone/>
              <a:defRPr sz="4800" b="0">
                <a:solidFill>
                  <a:schemeClr val="accent2"/>
                </a:solidFill>
                <a:latin typeface="+mn-lt"/>
              </a:defRPr>
            </a:lvl2pPr>
            <a:lvl3pPr marL="0" indent="0">
              <a:lnSpc>
                <a:spcPct val="100000"/>
              </a:lnSpc>
              <a:spcBef>
                <a:spcPts val="0"/>
              </a:spcBef>
              <a:spcAft>
                <a:spcPts val="0"/>
              </a:spcAft>
              <a:buNone/>
              <a:defRPr sz="4800" b="0">
                <a:solidFill>
                  <a:schemeClr val="accent2"/>
                </a:solidFill>
                <a:latin typeface="+mn-lt"/>
              </a:defRPr>
            </a:lvl3pPr>
            <a:lvl4pPr marL="0">
              <a:lnSpc>
                <a:spcPct val="100000"/>
              </a:lnSpc>
              <a:spcBef>
                <a:spcPts val="0"/>
              </a:spcBef>
              <a:spcAft>
                <a:spcPts val="0"/>
              </a:spcAft>
              <a:buNone/>
              <a:defRPr sz="4800" b="0">
                <a:solidFill>
                  <a:schemeClr val="accent2"/>
                </a:solidFill>
                <a:latin typeface="+mn-lt"/>
              </a:defRPr>
            </a:lvl4pPr>
            <a:lvl5pPr marL="0">
              <a:lnSpc>
                <a:spcPct val="100000"/>
              </a:lnSpc>
              <a:spcBef>
                <a:spcPts val="0"/>
              </a:spcBef>
              <a:spcAft>
                <a:spcPts val="0"/>
              </a:spcAft>
              <a:buNone/>
              <a:defRPr sz="4800" b="0">
                <a:solidFill>
                  <a:schemeClr val="accent2"/>
                </a:solidFill>
                <a:latin typeface="+mn-lt"/>
              </a:defRPr>
            </a:lvl5pPr>
            <a:lvl6pPr marL="0" indent="0">
              <a:lnSpc>
                <a:spcPct val="100000"/>
              </a:lnSpc>
              <a:spcBef>
                <a:spcPts val="0"/>
              </a:spcBef>
              <a:spcAft>
                <a:spcPts val="0"/>
              </a:spcAft>
              <a:buNone/>
              <a:defRPr sz="4800" b="0">
                <a:solidFill>
                  <a:schemeClr val="accent2"/>
                </a:solidFill>
                <a:latin typeface="+mn-lt"/>
              </a:defRPr>
            </a:lvl6pPr>
            <a:lvl7pPr marL="0">
              <a:lnSpc>
                <a:spcPct val="100000"/>
              </a:lnSpc>
              <a:spcBef>
                <a:spcPts val="0"/>
              </a:spcBef>
              <a:spcAft>
                <a:spcPts val="0"/>
              </a:spcAft>
              <a:buNone/>
              <a:defRPr sz="4800" b="0">
                <a:solidFill>
                  <a:schemeClr val="accent2"/>
                </a:solidFill>
                <a:latin typeface="+mn-lt"/>
              </a:defRPr>
            </a:lvl7pPr>
            <a:lvl8pPr marL="0">
              <a:lnSpc>
                <a:spcPct val="100000"/>
              </a:lnSpc>
              <a:spcBef>
                <a:spcPts val="0"/>
              </a:spcBef>
              <a:spcAft>
                <a:spcPts val="0"/>
              </a:spcAft>
              <a:buNone/>
              <a:defRPr sz="4800" b="0">
                <a:solidFill>
                  <a:schemeClr val="accent2"/>
                </a:solidFill>
                <a:latin typeface="+mn-lt"/>
              </a:defRPr>
            </a:lvl8pPr>
            <a:lvl9pPr marL="0">
              <a:lnSpc>
                <a:spcPct val="100000"/>
              </a:lnSpc>
              <a:spcBef>
                <a:spcPts val="0"/>
              </a:spcBef>
              <a:spcAft>
                <a:spcPts val="0"/>
              </a:spcAft>
              <a:buNone/>
              <a:defRPr sz="4800" b="0">
                <a:solidFill>
                  <a:schemeClr val="accent2"/>
                </a:solidFill>
                <a:latin typeface="+mn-lt"/>
              </a:defRPr>
            </a:lvl9pPr>
          </a:lstStyle>
          <a:p>
            <a:pPr lvl="0"/>
            <a:r>
              <a:rPr lang="en-US" noProof="0"/>
              <a:t>xx%</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273576" y="2979997"/>
            <a:ext cx="2732400" cy="27683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9" name="Text Placeholder 16">
            <a:extLst>
              <a:ext uri="{FF2B5EF4-FFF2-40B4-BE49-F238E27FC236}">
                <a16:creationId xmlns:a16="http://schemas.microsoft.com/office/drawing/2014/main" id="{E72393E9-306A-9C81-F8BD-59FAE7359ED1}"/>
              </a:ext>
            </a:extLst>
          </p:cNvPr>
          <p:cNvSpPr>
            <a:spLocks noGrp="1"/>
          </p:cNvSpPr>
          <p:nvPr>
            <p:ph type="body" sz="quarter" idx="28" hasCustomPrompt="1"/>
          </p:nvPr>
        </p:nvSpPr>
        <p:spPr>
          <a:xfrm>
            <a:off x="6187102" y="2154677"/>
            <a:ext cx="2732400" cy="821886"/>
          </a:xfrm>
        </p:spPr>
        <p:txBody>
          <a:bodyPr/>
          <a:lstStyle>
            <a:lvl1pPr marL="0" indent="0">
              <a:lnSpc>
                <a:spcPct val="100000"/>
              </a:lnSpc>
              <a:spcBef>
                <a:spcPts val="0"/>
              </a:spcBef>
              <a:spcAft>
                <a:spcPts val="0"/>
              </a:spcAft>
              <a:buNone/>
              <a:defRPr sz="4800" b="0">
                <a:solidFill>
                  <a:schemeClr val="accent2"/>
                </a:solidFill>
                <a:latin typeface="+mn-lt"/>
              </a:defRPr>
            </a:lvl1pPr>
            <a:lvl2pPr marL="0" indent="0">
              <a:lnSpc>
                <a:spcPct val="100000"/>
              </a:lnSpc>
              <a:spcBef>
                <a:spcPts val="0"/>
              </a:spcBef>
              <a:spcAft>
                <a:spcPts val="0"/>
              </a:spcAft>
              <a:buNone/>
              <a:defRPr sz="4800" b="0">
                <a:solidFill>
                  <a:schemeClr val="accent2"/>
                </a:solidFill>
                <a:latin typeface="+mn-lt"/>
              </a:defRPr>
            </a:lvl2pPr>
            <a:lvl3pPr marL="0" indent="0">
              <a:lnSpc>
                <a:spcPct val="100000"/>
              </a:lnSpc>
              <a:spcBef>
                <a:spcPts val="0"/>
              </a:spcBef>
              <a:spcAft>
                <a:spcPts val="0"/>
              </a:spcAft>
              <a:buNone/>
              <a:defRPr sz="4800" b="0">
                <a:solidFill>
                  <a:schemeClr val="accent2"/>
                </a:solidFill>
                <a:latin typeface="+mn-lt"/>
              </a:defRPr>
            </a:lvl3pPr>
            <a:lvl4pPr marL="0">
              <a:lnSpc>
                <a:spcPct val="100000"/>
              </a:lnSpc>
              <a:spcBef>
                <a:spcPts val="0"/>
              </a:spcBef>
              <a:spcAft>
                <a:spcPts val="0"/>
              </a:spcAft>
              <a:buNone/>
              <a:defRPr sz="4800" b="0">
                <a:solidFill>
                  <a:schemeClr val="accent2"/>
                </a:solidFill>
                <a:latin typeface="+mn-lt"/>
              </a:defRPr>
            </a:lvl4pPr>
            <a:lvl5pPr marL="0">
              <a:lnSpc>
                <a:spcPct val="100000"/>
              </a:lnSpc>
              <a:spcBef>
                <a:spcPts val="0"/>
              </a:spcBef>
              <a:spcAft>
                <a:spcPts val="0"/>
              </a:spcAft>
              <a:buNone/>
              <a:defRPr sz="4800" b="0">
                <a:solidFill>
                  <a:schemeClr val="accent2"/>
                </a:solidFill>
                <a:latin typeface="+mn-lt"/>
              </a:defRPr>
            </a:lvl5pPr>
            <a:lvl6pPr marL="0" indent="0">
              <a:lnSpc>
                <a:spcPct val="100000"/>
              </a:lnSpc>
              <a:spcBef>
                <a:spcPts val="0"/>
              </a:spcBef>
              <a:spcAft>
                <a:spcPts val="0"/>
              </a:spcAft>
              <a:buNone/>
              <a:defRPr sz="4800" b="0">
                <a:solidFill>
                  <a:schemeClr val="accent2"/>
                </a:solidFill>
                <a:latin typeface="+mn-lt"/>
              </a:defRPr>
            </a:lvl6pPr>
            <a:lvl7pPr marL="0">
              <a:lnSpc>
                <a:spcPct val="100000"/>
              </a:lnSpc>
              <a:spcBef>
                <a:spcPts val="0"/>
              </a:spcBef>
              <a:spcAft>
                <a:spcPts val="0"/>
              </a:spcAft>
              <a:buNone/>
              <a:defRPr sz="4800" b="0">
                <a:solidFill>
                  <a:schemeClr val="accent2"/>
                </a:solidFill>
                <a:latin typeface="+mn-lt"/>
              </a:defRPr>
            </a:lvl7pPr>
            <a:lvl8pPr marL="0">
              <a:lnSpc>
                <a:spcPct val="100000"/>
              </a:lnSpc>
              <a:spcBef>
                <a:spcPts val="0"/>
              </a:spcBef>
              <a:spcAft>
                <a:spcPts val="0"/>
              </a:spcAft>
              <a:buNone/>
              <a:defRPr sz="4800" b="0">
                <a:solidFill>
                  <a:schemeClr val="accent2"/>
                </a:solidFill>
                <a:latin typeface="+mn-lt"/>
              </a:defRPr>
            </a:lvl8pPr>
            <a:lvl9pPr marL="0">
              <a:lnSpc>
                <a:spcPct val="100000"/>
              </a:lnSpc>
              <a:spcBef>
                <a:spcPts val="0"/>
              </a:spcBef>
              <a:spcAft>
                <a:spcPts val="0"/>
              </a:spcAft>
              <a:buNone/>
              <a:defRPr sz="4800" b="0">
                <a:solidFill>
                  <a:schemeClr val="accent2"/>
                </a:solidFill>
                <a:latin typeface="+mn-lt"/>
              </a:defRPr>
            </a:lvl9pPr>
          </a:lstStyle>
          <a:p>
            <a:pPr lvl="0"/>
            <a:r>
              <a:rPr lang="en-US" noProof="0"/>
              <a:t>xx%</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6187102" y="2979997"/>
            <a:ext cx="2732400" cy="27683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0" name="Text Placeholder 16">
            <a:extLst>
              <a:ext uri="{FF2B5EF4-FFF2-40B4-BE49-F238E27FC236}">
                <a16:creationId xmlns:a16="http://schemas.microsoft.com/office/drawing/2014/main" id="{D6CEF1E1-F623-58C2-6C50-CBD9A2B313C8}"/>
              </a:ext>
            </a:extLst>
          </p:cNvPr>
          <p:cNvSpPr>
            <a:spLocks noGrp="1"/>
          </p:cNvSpPr>
          <p:nvPr>
            <p:ph type="body" sz="quarter" idx="29" hasCustomPrompt="1"/>
          </p:nvPr>
        </p:nvSpPr>
        <p:spPr>
          <a:xfrm>
            <a:off x="9100629" y="2154677"/>
            <a:ext cx="2732400" cy="821886"/>
          </a:xfrm>
        </p:spPr>
        <p:txBody>
          <a:bodyPr/>
          <a:lstStyle>
            <a:lvl1pPr marL="0" indent="0">
              <a:lnSpc>
                <a:spcPct val="100000"/>
              </a:lnSpc>
              <a:spcBef>
                <a:spcPts val="0"/>
              </a:spcBef>
              <a:spcAft>
                <a:spcPts val="0"/>
              </a:spcAft>
              <a:buNone/>
              <a:defRPr sz="4800" b="0">
                <a:solidFill>
                  <a:schemeClr val="accent2"/>
                </a:solidFill>
                <a:latin typeface="+mn-lt"/>
              </a:defRPr>
            </a:lvl1pPr>
            <a:lvl2pPr marL="0" indent="0">
              <a:lnSpc>
                <a:spcPct val="100000"/>
              </a:lnSpc>
              <a:spcBef>
                <a:spcPts val="0"/>
              </a:spcBef>
              <a:spcAft>
                <a:spcPts val="0"/>
              </a:spcAft>
              <a:buNone/>
              <a:defRPr sz="4800" b="0">
                <a:solidFill>
                  <a:schemeClr val="accent2"/>
                </a:solidFill>
                <a:latin typeface="+mn-lt"/>
              </a:defRPr>
            </a:lvl2pPr>
            <a:lvl3pPr marL="0" indent="0">
              <a:lnSpc>
                <a:spcPct val="100000"/>
              </a:lnSpc>
              <a:spcBef>
                <a:spcPts val="0"/>
              </a:spcBef>
              <a:spcAft>
                <a:spcPts val="0"/>
              </a:spcAft>
              <a:buNone/>
              <a:defRPr sz="4800" b="0">
                <a:solidFill>
                  <a:schemeClr val="accent2"/>
                </a:solidFill>
                <a:latin typeface="+mn-lt"/>
              </a:defRPr>
            </a:lvl3pPr>
            <a:lvl4pPr marL="0">
              <a:lnSpc>
                <a:spcPct val="100000"/>
              </a:lnSpc>
              <a:spcBef>
                <a:spcPts val="0"/>
              </a:spcBef>
              <a:spcAft>
                <a:spcPts val="0"/>
              </a:spcAft>
              <a:buNone/>
              <a:defRPr sz="4800" b="0">
                <a:solidFill>
                  <a:schemeClr val="accent2"/>
                </a:solidFill>
                <a:latin typeface="+mn-lt"/>
              </a:defRPr>
            </a:lvl4pPr>
            <a:lvl5pPr marL="0">
              <a:lnSpc>
                <a:spcPct val="100000"/>
              </a:lnSpc>
              <a:spcBef>
                <a:spcPts val="0"/>
              </a:spcBef>
              <a:spcAft>
                <a:spcPts val="0"/>
              </a:spcAft>
              <a:buNone/>
              <a:defRPr sz="4800" b="0">
                <a:solidFill>
                  <a:schemeClr val="accent2"/>
                </a:solidFill>
                <a:latin typeface="+mn-lt"/>
              </a:defRPr>
            </a:lvl5pPr>
            <a:lvl6pPr marL="0" indent="0">
              <a:lnSpc>
                <a:spcPct val="100000"/>
              </a:lnSpc>
              <a:spcBef>
                <a:spcPts val="0"/>
              </a:spcBef>
              <a:spcAft>
                <a:spcPts val="0"/>
              </a:spcAft>
              <a:buNone/>
              <a:defRPr sz="4800" b="0">
                <a:solidFill>
                  <a:schemeClr val="accent2"/>
                </a:solidFill>
                <a:latin typeface="+mn-lt"/>
              </a:defRPr>
            </a:lvl6pPr>
            <a:lvl7pPr marL="0">
              <a:lnSpc>
                <a:spcPct val="100000"/>
              </a:lnSpc>
              <a:spcBef>
                <a:spcPts val="0"/>
              </a:spcBef>
              <a:spcAft>
                <a:spcPts val="0"/>
              </a:spcAft>
              <a:buNone/>
              <a:defRPr sz="4800" b="0">
                <a:solidFill>
                  <a:schemeClr val="accent2"/>
                </a:solidFill>
                <a:latin typeface="+mn-lt"/>
              </a:defRPr>
            </a:lvl7pPr>
            <a:lvl8pPr marL="0">
              <a:lnSpc>
                <a:spcPct val="100000"/>
              </a:lnSpc>
              <a:spcBef>
                <a:spcPts val="0"/>
              </a:spcBef>
              <a:spcAft>
                <a:spcPts val="0"/>
              </a:spcAft>
              <a:buNone/>
              <a:defRPr sz="4800" b="0">
                <a:solidFill>
                  <a:schemeClr val="accent2"/>
                </a:solidFill>
                <a:latin typeface="+mn-lt"/>
              </a:defRPr>
            </a:lvl8pPr>
            <a:lvl9pPr marL="0">
              <a:lnSpc>
                <a:spcPct val="100000"/>
              </a:lnSpc>
              <a:spcBef>
                <a:spcPts val="0"/>
              </a:spcBef>
              <a:spcAft>
                <a:spcPts val="0"/>
              </a:spcAft>
              <a:buNone/>
              <a:defRPr sz="4800" b="0">
                <a:solidFill>
                  <a:schemeClr val="accent2"/>
                </a:solidFill>
                <a:latin typeface="+mn-lt"/>
              </a:defRPr>
            </a:lvl9pPr>
          </a:lstStyle>
          <a:p>
            <a:pPr lvl="0"/>
            <a:r>
              <a:rPr lang="en-US" noProof="0"/>
              <a:t>xx%</a:t>
            </a:r>
            <a:endParaRPr lang="en-US"/>
          </a:p>
        </p:txBody>
      </p:sp>
      <p:sp>
        <p:nvSpPr>
          <p:cNvPr id="12" name="Content Placeholder 3">
            <a:extLst>
              <a:ext uri="{FF2B5EF4-FFF2-40B4-BE49-F238E27FC236}">
                <a16:creationId xmlns:a16="http://schemas.microsoft.com/office/drawing/2014/main" id="{405546E1-7BF8-F03B-5530-1D7898C62B33}"/>
              </a:ext>
            </a:extLst>
          </p:cNvPr>
          <p:cNvSpPr>
            <a:spLocks noGrp="1"/>
          </p:cNvSpPr>
          <p:nvPr>
            <p:ph sz="half" idx="21" hasCustomPrompt="1"/>
          </p:nvPr>
        </p:nvSpPr>
        <p:spPr>
          <a:xfrm>
            <a:off x="9100629" y="2979997"/>
            <a:ext cx="2732400" cy="27683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Content Placeholder 12">
            <a:extLst>
              <a:ext uri="{FF2B5EF4-FFF2-40B4-BE49-F238E27FC236}">
                <a16:creationId xmlns:a16="http://schemas.microsoft.com/office/drawing/2014/main" id="{F3234D57-AF53-E0DB-C937-D18B2FD0C742}"/>
              </a:ext>
            </a:extLst>
          </p:cNvPr>
          <p:cNvSpPr>
            <a:spLocks noGrp="1"/>
          </p:cNvSpPr>
          <p:nvPr>
            <p:ph sz="quarter" idx="22" hasCustomPrompt="1"/>
          </p:nvPr>
        </p:nvSpPr>
        <p:spPr>
          <a:xfrm>
            <a:off x="360000" y="1755182"/>
            <a:ext cx="360000" cy="360000"/>
          </a:xfrm>
        </p:spPr>
        <p:txBody>
          <a:bodyPr lIns="0" bIns="1656000"/>
          <a:lstStyle>
            <a:lvl1pPr marL="0" indent="0">
              <a:lnSpc>
                <a:spcPct val="80000"/>
              </a:lnSpc>
              <a:spcAft>
                <a:spcPts val="0"/>
              </a:spcAft>
              <a:buNone/>
              <a:defRPr sz="900"/>
            </a:lvl1pPr>
          </a:lstStyle>
          <a:p>
            <a:pPr lvl="0"/>
            <a:r>
              <a:rPr lang="en-US"/>
              <a:t>Click on Picture icon to insert icon</a:t>
            </a:r>
          </a:p>
        </p:txBody>
      </p:sp>
      <p:sp>
        <p:nvSpPr>
          <p:cNvPr id="14" name="Content Placeholder 12">
            <a:extLst>
              <a:ext uri="{FF2B5EF4-FFF2-40B4-BE49-F238E27FC236}">
                <a16:creationId xmlns:a16="http://schemas.microsoft.com/office/drawing/2014/main" id="{B95D790D-95CB-A96F-5C58-23F1105FE4B8}"/>
              </a:ext>
            </a:extLst>
          </p:cNvPr>
          <p:cNvSpPr>
            <a:spLocks noGrp="1"/>
          </p:cNvSpPr>
          <p:nvPr>
            <p:ph sz="quarter" idx="23" hasCustomPrompt="1"/>
          </p:nvPr>
        </p:nvSpPr>
        <p:spPr>
          <a:xfrm>
            <a:off x="3273576" y="1755182"/>
            <a:ext cx="360000" cy="360000"/>
          </a:xfrm>
        </p:spPr>
        <p:txBody>
          <a:bodyPr lIns="0" bIns="1656000"/>
          <a:lstStyle>
            <a:lvl1pPr marL="0" indent="0">
              <a:lnSpc>
                <a:spcPct val="80000"/>
              </a:lnSpc>
              <a:spcAft>
                <a:spcPts val="0"/>
              </a:spcAft>
              <a:buNone/>
              <a:defRPr sz="900"/>
            </a:lvl1pPr>
          </a:lstStyle>
          <a:p>
            <a:pPr lvl="0"/>
            <a:r>
              <a:rPr lang="en-US"/>
              <a:t>Click on Picture icon to insert icon</a:t>
            </a:r>
          </a:p>
        </p:txBody>
      </p:sp>
      <p:sp>
        <p:nvSpPr>
          <p:cNvPr id="15" name="Content Placeholder 12">
            <a:extLst>
              <a:ext uri="{FF2B5EF4-FFF2-40B4-BE49-F238E27FC236}">
                <a16:creationId xmlns:a16="http://schemas.microsoft.com/office/drawing/2014/main" id="{CA4F82EB-2F71-355A-EA48-B2286BC5B6BA}"/>
              </a:ext>
            </a:extLst>
          </p:cNvPr>
          <p:cNvSpPr>
            <a:spLocks noGrp="1"/>
          </p:cNvSpPr>
          <p:nvPr>
            <p:ph sz="quarter" idx="24" hasCustomPrompt="1"/>
          </p:nvPr>
        </p:nvSpPr>
        <p:spPr>
          <a:xfrm>
            <a:off x="6187102" y="1755182"/>
            <a:ext cx="360000" cy="360000"/>
          </a:xfrm>
        </p:spPr>
        <p:txBody>
          <a:bodyPr lIns="0" bIns="1656000"/>
          <a:lstStyle>
            <a:lvl1pPr marL="0" indent="0">
              <a:lnSpc>
                <a:spcPct val="80000"/>
              </a:lnSpc>
              <a:spcAft>
                <a:spcPts val="0"/>
              </a:spcAft>
              <a:buNone/>
              <a:defRPr sz="900"/>
            </a:lvl1pPr>
          </a:lstStyle>
          <a:p>
            <a:pPr lvl="0"/>
            <a:r>
              <a:rPr lang="en-US"/>
              <a:t>Click on Picture icon to insert icon</a:t>
            </a:r>
          </a:p>
        </p:txBody>
      </p:sp>
      <p:sp>
        <p:nvSpPr>
          <p:cNvPr id="16" name="Content Placeholder 12">
            <a:extLst>
              <a:ext uri="{FF2B5EF4-FFF2-40B4-BE49-F238E27FC236}">
                <a16:creationId xmlns:a16="http://schemas.microsoft.com/office/drawing/2014/main" id="{A894763A-0742-A455-9D20-0C9F741B396B}"/>
              </a:ext>
            </a:extLst>
          </p:cNvPr>
          <p:cNvSpPr>
            <a:spLocks noGrp="1"/>
          </p:cNvSpPr>
          <p:nvPr>
            <p:ph sz="quarter" idx="25" hasCustomPrompt="1"/>
          </p:nvPr>
        </p:nvSpPr>
        <p:spPr>
          <a:xfrm>
            <a:off x="9100629" y="1755182"/>
            <a:ext cx="360000" cy="360000"/>
          </a:xfrm>
        </p:spPr>
        <p:txBody>
          <a:bodyPr lIns="0" bIns="1656000"/>
          <a:lstStyle>
            <a:lvl1pPr marL="0" indent="0">
              <a:lnSpc>
                <a:spcPct val="80000"/>
              </a:lnSpc>
              <a:spcAft>
                <a:spcPts val="0"/>
              </a:spcAft>
              <a:buNone/>
              <a:defRPr sz="900"/>
            </a:lvl1pPr>
          </a:lstStyle>
          <a:p>
            <a:pPr lvl="0"/>
            <a:r>
              <a:rPr lang="en-US"/>
              <a:t>Click on Picture icon to insert icon</a:t>
            </a:r>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08D0D09D-CCDC-B559-8822-5F2F27049799}"/>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4274707684"/>
      </p:ext>
    </p:extLst>
  </p:cSld>
  <p:clrMapOvr>
    <a:masterClrMapping/>
  </p:clrMapOvr>
  <p:extLst>
    <p:ext uri="{DCECCB84-F9BA-43D5-87BE-67443E8EF086}">
      <p15:sldGuideLst xmlns:p15="http://schemas.microsoft.com/office/powerpoint/2012/main">
        <p15:guide id="1" orient="horz" pos="486">
          <p15:clr>
            <a:srgbClr val="F26B43"/>
          </p15:clr>
        </p15:guide>
        <p15:guide id="2" orient="horz" pos="1875">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 4 col_content color">
    <p:bg>
      <p:bgPr>
        <a:solidFill>
          <a:schemeClr val="bg2"/>
        </a:solidFill>
        <a:effectLst/>
      </p:bgPr>
    </p:bg>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3B85D6E3-5B2F-35E9-5F62-5641C5122064}"/>
              </a:ext>
            </a:extLst>
          </p:cNvPr>
          <p:cNvPicPr>
            <a:picLocks noGrp="1" noRot="1" noChangeAspect="1" noMove="1" noResize="1" noEditPoints="1" noAdjustHandles="1" noChangeArrowheads="1" noChangeShapeType="1" noCrop="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7" y="2699448"/>
            <a:ext cx="12191986" cy="309033"/>
          </a:xfrm>
          <a:prstGeom prst="rect">
            <a:avLst/>
          </a:prstGeom>
        </p:spPr>
      </p:pic>
      <p:sp>
        <p:nvSpPr>
          <p:cNvPr id="22" name="Title 1">
            <a:extLst>
              <a:ext uri="{FF2B5EF4-FFF2-40B4-BE49-F238E27FC236}">
                <a16:creationId xmlns:a16="http://schemas.microsoft.com/office/drawing/2014/main" id="{BBC53586-5BA1-03DB-BDFA-650FBE77D5A4}"/>
              </a:ext>
            </a:extLst>
          </p:cNvPr>
          <p:cNvSpPr>
            <a:spLocks noGrp="1"/>
          </p:cNvSpPr>
          <p:nvPr>
            <p:ph type="title" hasCustomPrompt="1"/>
          </p:nvPr>
        </p:nvSpPr>
        <p:spPr>
          <a:xfrm>
            <a:off x="360000" y="532798"/>
            <a:ext cx="7588800" cy="1167415"/>
          </a:xfrm>
        </p:spPr>
        <p:txBody>
          <a:bodyPr/>
          <a:lstStyle>
            <a:lvl1pPr>
              <a:defRPr>
                <a:solidFill>
                  <a:schemeClr val="accent3"/>
                </a:solidFill>
              </a:defRPr>
            </a:lvl1pPr>
          </a:lstStyle>
          <a:p>
            <a:r>
              <a:rPr lang="en-US" noProof="0"/>
              <a:t>Click to add title</a:t>
            </a:r>
            <a:endParaRPr lang="en-US"/>
          </a:p>
        </p:txBody>
      </p:sp>
      <p:sp>
        <p:nvSpPr>
          <p:cNvPr id="23" name="Text Placeholder eyebrow">
            <a:extLst>
              <a:ext uri="{FF2B5EF4-FFF2-40B4-BE49-F238E27FC236}">
                <a16:creationId xmlns:a16="http://schemas.microsoft.com/office/drawing/2014/main" id="{DE7C3846-3A0E-EB4A-5D05-A88472826761}"/>
              </a:ext>
            </a:extLst>
          </p:cNvPr>
          <p:cNvSpPr>
            <a:spLocks noGrp="1"/>
          </p:cNvSpPr>
          <p:nvPr>
            <p:ph type="body" sz="quarter" idx="19" hasCustomPrompt="1"/>
          </p:nvPr>
        </p:nvSpPr>
        <p:spPr>
          <a:xfrm>
            <a:off x="360000" y="295200"/>
            <a:ext cx="7588800" cy="234779"/>
          </a:xfrm>
        </p:spPr>
        <p:txBody>
          <a:bodyPr tIns="36000" anchor="t" anchorCtr="0"/>
          <a:lstStyle>
            <a:lvl1pPr marL="0" indent="0">
              <a:lnSpc>
                <a:spcPct val="85000"/>
              </a:lnSpc>
              <a:spcBef>
                <a:spcPts val="0"/>
              </a:spcBef>
              <a:spcAft>
                <a:spcPts val="0"/>
              </a:spcAft>
              <a:buNone/>
              <a:defRPr sz="1200" cap="all" spc="150" baseline="0">
                <a:solidFill>
                  <a:schemeClr val="accent3"/>
                </a:solidFill>
                <a:latin typeface="Consolas" panose="020B0609020204030204" pitchFamily="49" charset="0"/>
              </a:defRPr>
            </a:lvl1pPr>
          </a:lstStyle>
          <a:p>
            <a:pPr lvl="0"/>
            <a:r>
              <a:rPr lang="en-US"/>
              <a:t>Click to add title</a:t>
            </a:r>
          </a:p>
        </p:txBody>
      </p:sp>
      <p:sp>
        <p:nvSpPr>
          <p:cNvPr id="17" name="Text Placeholder 16">
            <a:extLst>
              <a:ext uri="{FF2B5EF4-FFF2-40B4-BE49-F238E27FC236}">
                <a16:creationId xmlns:a16="http://schemas.microsoft.com/office/drawing/2014/main" id="{3F4B2A4F-AE05-BB2D-2F94-020FF0E32648}"/>
              </a:ext>
            </a:extLst>
          </p:cNvPr>
          <p:cNvSpPr>
            <a:spLocks noGrp="1"/>
          </p:cNvSpPr>
          <p:nvPr>
            <p:ph type="body" sz="quarter" idx="26" hasCustomPrompt="1"/>
          </p:nvPr>
        </p:nvSpPr>
        <p:spPr>
          <a:xfrm>
            <a:off x="358775" y="3225100"/>
            <a:ext cx="2052000" cy="394399"/>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3" name="Content Placeholder 2"/>
          <p:cNvSpPr>
            <a:spLocks noGrp="1"/>
          </p:cNvSpPr>
          <p:nvPr>
            <p:ph idx="1" hasCustomPrompt="1"/>
          </p:nvPr>
        </p:nvSpPr>
        <p:spPr>
          <a:xfrm>
            <a:off x="359999"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8" name="Text Placeholder 16">
            <a:extLst>
              <a:ext uri="{FF2B5EF4-FFF2-40B4-BE49-F238E27FC236}">
                <a16:creationId xmlns:a16="http://schemas.microsoft.com/office/drawing/2014/main" id="{603EA300-63BA-5800-5BBF-278E313431B8}"/>
              </a:ext>
            </a:extLst>
          </p:cNvPr>
          <p:cNvSpPr>
            <a:spLocks noGrp="1"/>
          </p:cNvSpPr>
          <p:nvPr>
            <p:ph type="body" sz="quarter" idx="27" hasCustomPrompt="1"/>
          </p:nvPr>
        </p:nvSpPr>
        <p:spPr>
          <a:xfrm>
            <a:off x="2713197" y="3225101"/>
            <a:ext cx="2052000" cy="396000"/>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714115"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9" name="Text Placeholder 16">
            <a:extLst>
              <a:ext uri="{FF2B5EF4-FFF2-40B4-BE49-F238E27FC236}">
                <a16:creationId xmlns:a16="http://schemas.microsoft.com/office/drawing/2014/main" id="{E72393E9-306A-9C81-F8BD-59FAE7359ED1}"/>
              </a:ext>
            </a:extLst>
          </p:cNvPr>
          <p:cNvSpPr>
            <a:spLocks noGrp="1"/>
          </p:cNvSpPr>
          <p:nvPr>
            <p:ph type="body" sz="quarter" idx="28" hasCustomPrompt="1"/>
          </p:nvPr>
        </p:nvSpPr>
        <p:spPr>
          <a:xfrm>
            <a:off x="5067619" y="3225101"/>
            <a:ext cx="2052000" cy="396000"/>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8" name="Content Placeholder 3">
            <a:extLst>
              <a:ext uri="{FF2B5EF4-FFF2-40B4-BE49-F238E27FC236}">
                <a16:creationId xmlns:a16="http://schemas.microsoft.com/office/drawing/2014/main" id="{AB022DFF-8F16-4A61-9B0B-DD1E6316615B}"/>
              </a:ext>
            </a:extLst>
          </p:cNvPr>
          <p:cNvSpPr>
            <a:spLocks noGrp="1"/>
          </p:cNvSpPr>
          <p:nvPr>
            <p:ph sz="half" idx="20" hasCustomPrompt="1"/>
          </p:nvPr>
        </p:nvSpPr>
        <p:spPr>
          <a:xfrm>
            <a:off x="5068231"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20" name="Text Placeholder 16">
            <a:extLst>
              <a:ext uri="{FF2B5EF4-FFF2-40B4-BE49-F238E27FC236}">
                <a16:creationId xmlns:a16="http://schemas.microsoft.com/office/drawing/2014/main" id="{D6CEF1E1-F623-58C2-6C50-CBD9A2B313C8}"/>
              </a:ext>
            </a:extLst>
          </p:cNvPr>
          <p:cNvSpPr>
            <a:spLocks noGrp="1"/>
          </p:cNvSpPr>
          <p:nvPr>
            <p:ph type="body" sz="quarter" idx="29" hasCustomPrompt="1"/>
          </p:nvPr>
        </p:nvSpPr>
        <p:spPr>
          <a:xfrm>
            <a:off x="7422041" y="3225101"/>
            <a:ext cx="2052000" cy="396000"/>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12" name="Content Placeholder 3">
            <a:extLst>
              <a:ext uri="{FF2B5EF4-FFF2-40B4-BE49-F238E27FC236}">
                <a16:creationId xmlns:a16="http://schemas.microsoft.com/office/drawing/2014/main" id="{405546E1-7BF8-F03B-5530-1D7898C62B33}"/>
              </a:ext>
            </a:extLst>
          </p:cNvPr>
          <p:cNvSpPr>
            <a:spLocks noGrp="1"/>
          </p:cNvSpPr>
          <p:nvPr>
            <p:ph sz="half" idx="21" hasCustomPrompt="1"/>
          </p:nvPr>
        </p:nvSpPr>
        <p:spPr>
          <a:xfrm>
            <a:off x="7422347"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0" name="Text Placeholder 16">
            <a:extLst>
              <a:ext uri="{FF2B5EF4-FFF2-40B4-BE49-F238E27FC236}">
                <a16:creationId xmlns:a16="http://schemas.microsoft.com/office/drawing/2014/main" id="{D8AB7EEA-CEB4-1015-F30C-C2BC948E0519}"/>
              </a:ext>
            </a:extLst>
          </p:cNvPr>
          <p:cNvSpPr>
            <a:spLocks noGrp="1"/>
          </p:cNvSpPr>
          <p:nvPr>
            <p:ph type="body" sz="quarter" idx="30" hasCustomPrompt="1"/>
          </p:nvPr>
        </p:nvSpPr>
        <p:spPr>
          <a:xfrm>
            <a:off x="9776463" y="3225101"/>
            <a:ext cx="2052000" cy="396000"/>
          </a:xfrm>
        </p:spPr>
        <p:txBody>
          <a:bodyPr/>
          <a:lstStyle>
            <a:lvl1pPr marL="0" indent="0">
              <a:lnSpc>
                <a:spcPct val="100000"/>
              </a:lnSpc>
              <a:spcBef>
                <a:spcPts val="0"/>
              </a:spcBef>
              <a:spcAft>
                <a:spcPts val="0"/>
              </a:spcAft>
              <a:buNone/>
              <a:defRPr sz="1400" b="1">
                <a:solidFill>
                  <a:schemeClr val="accent3"/>
                </a:solidFill>
                <a:latin typeface="+mn-lt"/>
              </a:defRPr>
            </a:lvl1pPr>
            <a:lvl2pPr marL="0" indent="0">
              <a:lnSpc>
                <a:spcPct val="100000"/>
              </a:lnSpc>
              <a:spcBef>
                <a:spcPts val="0"/>
              </a:spcBef>
              <a:spcAft>
                <a:spcPts val="0"/>
              </a:spcAft>
              <a:buNone/>
              <a:defRPr sz="1400" b="1">
                <a:solidFill>
                  <a:schemeClr val="accent3"/>
                </a:solidFill>
                <a:latin typeface="+mn-lt"/>
              </a:defRPr>
            </a:lvl2pPr>
            <a:lvl3pPr marL="0" indent="0">
              <a:lnSpc>
                <a:spcPct val="100000"/>
              </a:lnSpc>
              <a:spcBef>
                <a:spcPts val="0"/>
              </a:spcBef>
              <a:spcAft>
                <a:spcPts val="0"/>
              </a:spcAft>
              <a:buNone/>
              <a:defRPr sz="1400" b="1">
                <a:solidFill>
                  <a:schemeClr val="accent3"/>
                </a:solidFill>
                <a:latin typeface="+mn-lt"/>
              </a:defRPr>
            </a:lvl3pPr>
            <a:lvl4pPr marL="0">
              <a:lnSpc>
                <a:spcPct val="100000"/>
              </a:lnSpc>
              <a:spcBef>
                <a:spcPts val="0"/>
              </a:spcBef>
              <a:spcAft>
                <a:spcPts val="0"/>
              </a:spcAft>
              <a:buNone/>
              <a:defRPr sz="1400" b="1">
                <a:solidFill>
                  <a:schemeClr val="accent3"/>
                </a:solidFill>
                <a:latin typeface="+mn-lt"/>
              </a:defRPr>
            </a:lvl4pPr>
            <a:lvl5pPr marL="0">
              <a:lnSpc>
                <a:spcPct val="100000"/>
              </a:lnSpc>
              <a:spcBef>
                <a:spcPts val="0"/>
              </a:spcBef>
              <a:spcAft>
                <a:spcPts val="0"/>
              </a:spcAft>
              <a:buNone/>
              <a:defRPr sz="1400" b="1">
                <a:solidFill>
                  <a:schemeClr val="accent3"/>
                </a:solidFill>
                <a:latin typeface="+mn-lt"/>
              </a:defRPr>
            </a:lvl5pPr>
            <a:lvl6pPr marL="0" indent="0">
              <a:lnSpc>
                <a:spcPct val="100000"/>
              </a:lnSpc>
              <a:spcBef>
                <a:spcPts val="0"/>
              </a:spcBef>
              <a:spcAft>
                <a:spcPts val="0"/>
              </a:spcAft>
              <a:buNone/>
              <a:defRPr sz="1400" b="1">
                <a:solidFill>
                  <a:schemeClr val="accent3"/>
                </a:solidFill>
                <a:latin typeface="+mn-lt"/>
              </a:defRPr>
            </a:lvl6pPr>
            <a:lvl7pPr marL="0">
              <a:lnSpc>
                <a:spcPct val="100000"/>
              </a:lnSpc>
              <a:spcBef>
                <a:spcPts val="0"/>
              </a:spcBef>
              <a:spcAft>
                <a:spcPts val="0"/>
              </a:spcAft>
              <a:buNone/>
              <a:defRPr sz="1400" b="1">
                <a:solidFill>
                  <a:schemeClr val="accent3"/>
                </a:solidFill>
                <a:latin typeface="+mn-lt"/>
              </a:defRPr>
            </a:lvl7pPr>
            <a:lvl8pPr marL="0">
              <a:lnSpc>
                <a:spcPct val="100000"/>
              </a:lnSpc>
              <a:spcBef>
                <a:spcPts val="0"/>
              </a:spcBef>
              <a:spcAft>
                <a:spcPts val="0"/>
              </a:spcAft>
              <a:buNone/>
              <a:defRPr sz="1400" b="1">
                <a:solidFill>
                  <a:schemeClr val="accent3"/>
                </a:solidFill>
                <a:latin typeface="+mn-lt"/>
              </a:defRPr>
            </a:lvl8pPr>
            <a:lvl9pPr marL="0">
              <a:lnSpc>
                <a:spcPct val="100000"/>
              </a:lnSpc>
              <a:spcBef>
                <a:spcPts val="0"/>
              </a:spcBef>
              <a:spcAft>
                <a:spcPts val="0"/>
              </a:spcAft>
              <a:buNone/>
              <a:defRPr sz="1400" b="1">
                <a:solidFill>
                  <a:schemeClr val="accent3"/>
                </a:solidFill>
                <a:latin typeface="+mn-lt"/>
              </a:defRPr>
            </a:lvl9pPr>
          </a:lstStyle>
          <a:p>
            <a:pPr lvl="0"/>
            <a:r>
              <a:rPr lang="en-US" noProof="0"/>
              <a:t>Click to add date</a:t>
            </a:r>
            <a:endParaRPr lang="en-US"/>
          </a:p>
        </p:txBody>
      </p:sp>
      <p:sp>
        <p:nvSpPr>
          <p:cNvPr id="21" name="Content Placeholder 3">
            <a:extLst>
              <a:ext uri="{FF2B5EF4-FFF2-40B4-BE49-F238E27FC236}">
                <a16:creationId xmlns:a16="http://schemas.microsoft.com/office/drawing/2014/main" id="{105F744D-454F-875C-C169-BB0E4AFA4120}"/>
              </a:ext>
            </a:extLst>
          </p:cNvPr>
          <p:cNvSpPr>
            <a:spLocks noGrp="1"/>
          </p:cNvSpPr>
          <p:nvPr>
            <p:ph sz="half" idx="31" hasCustomPrompt="1"/>
          </p:nvPr>
        </p:nvSpPr>
        <p:spPr>
          <a:xfrm>
            <a:off x="9776463" y="3619893"/>
            <a:ext cx="2052000" cy="21284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p:txBody>
      </p:sp>
      <p:sp>
        <p:nvSpPr>
          <p:cNvPr id="11" name="Text Placeholder notes">
            <a:extLst>
              <a:ext uri="{FF2B5EF4-FFF2-40B4-BE49-F238E27FC236}">
                <a16:creationId xmlns:a16="http://schemas.microsoft.com/office/drawing/2014/main" id="{D52F9DB5-248F-47E7-A76C-76CB21AAC839}"/>
              </a:ext>
            </a:extLst>
          </p:cNvPr>
          <p:cNvSpPr>
            <a:spLocks noGrp="1"/>
          </p:cNvSpPr>
          <p:nvPr>
            <p:ph type="body" sz="quarter" idx="16" hasCustomPrompt="1"/>
          </p:nvPr>
        </p:nvSpPr>
        <p:spPr>
          <a:xfrm>
            <a:off x="360000" y="5749200"/>
            <a:ext cx="11468463" cy="288000"/>
          </a:xfrm>
        </p:spPr>
        <p:txBody>
          <a:bodyPr anchor="b"/>
          <a:lstStyle>
            <a:lvl1pPr marL="0" indent="0">
              <a:buNone/>
              <a:defRPr sz="900" i="1">
                <a:solidFill>
                  <a:schemeClr val="tx1"/>
                </a:solidFill>
              </a:defRPr>
            </a:lvl1pPr>
          </a:lstStyle>
          <a:p>
            <a:pPr lvl="0"/>
            <a:r>
              <a:rPr lang="en-US"/>
              <a:t>Insert notes</a:t>
            </a:r>
          </a:p>
        </p:txBody>
      </p:sp>
      <p:sp>
        <p:nvSpPr>
          <p:cNvPr id="5" name="Slide Number Placeholder 4">
            <a:extLst>
              <a:ext uri="{FF2B5EF4-FFF2-40B4-BE49-F238E27FC236}">
                <a16:creationId xmlns:a16="http://schemas.microsoft.com/office/drawing/2014/main" id="{6851CF2F-237F-3386-B5BD-1EC7AEBBF951}"/>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2" name="Date Placeholder 5">
            <a:extLst>
              <a:ext uri="{FF2B5EF4-FFF2-40B4-BE49-F238E27FC236}">
                <a16:creationId xmlns:a16="http://schemas.microsoft.com/office/drawing/2014/main" id="{472410F8-C824-92D8-55F5-C033EFA5DF1C}"/>
              </a:ext>
            </a:extLst>
          </p:cNvPr>
          <p:cNvSpPr>
            <a:spLocks noGrp="1"/>
          </p:cNvSpPr>
          <p:nvPr>
            <p:ph type="dt" sz="half" idx="13"/>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939893965"/>
      </p:ext>
    </p:extLst>
  </p:cSld>
  <p:clrMapOvr>
    <a:masterClrMapping/>
  </p:clrMapOvr>
  <p:extLst>
    <p:ext uri="{DCECCB84-F9BA-43D5-87BE-67443E8EF086}">
      <p15:sldGuideLst xmlns:p15="http://schemas.microsoft.com/office/powerpoint/2012/main">
        <p15:guide id="1" orient="horz" pos="335">
          <p15:clr>
            <a:srgbClr val="F26B43"/>
          </p15:clr>
        </p15:guide>
        <p15:guide id="2" orient="horz" pos="2031">
          <p15:clr>
            <a:srgbClr val="F26B43"/>
          </p15:clr>
        </p15:guide>
        <p15:guide id="3" orient="horz" pos="228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 Infographic">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62650EA4-809A-0701-39F8-766C84DCBE52}"/>
              </a:ext>
            </a:extLst>
          </p:cNvPr>
          <p:cNvSpPr>
            <a:spLocks noGrp="1"/>
          </p:cNvSpPr>
          <p:nvPr>
            <p:ph type="pic" sz="quarter" idx="13"/>
          </p:nvPr>
        </p:nvSpPr>
        <p:spPr>
          <a:xfrm>
            <a:off x="4963373" y="293689"/>
            <a:ext cx="6865090" cy="5454650"/>
          </a:xfrm>
          <a:prstGeom prst="roundRect">
            <a:avLst>
              <a:gd name="adj" fmla="val 8062"/>
            </a:avLst>
          </a:prstGeom>
          <a:solidFill>
            <a:schemeClr val="bg1">
              <a:lumMod val="75000"/>
            </a:schemeClr>
          </a:solidFill>
        </p:spPr>
        <p:txBody>
          <a:bodyPr tIns="576000" anchor="ctr" anchorCtr="0"/>
          <a:lstStyle>
            <a:lvl1pPr marL="0" indent="0" algn="ctr">
              <a:buNone/>
              <a:defRPr sz="1600">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1C7886CF-24AA-69A5-0D9D-3F93B4AAB603}"/>
              </a:ext>
            </a:extLst>
          </p:cNvPr>
          <p:cNvSpPr>
            <a:spLocks noGrp="1"/>
          </p:cNvSpPr>
          <p:nvPr>
            <p:ph type="title" hasCustomPrompt="1"/>
          </p:nvPr>
        </p:nvSpPr>
        <p:spPr bwMode="invGray">
          <a:xfrm>
            <a:off x="360000" y="295199"/>
            <a:ext cx="4279377" cy="5453139"/>
          </a:xfrm>
          <a:prstGeom prst="roundRect">
            <a:avLst>
              <a:gd name="adj" fmla="val 10275"/>
            </a:avLst>
          </a:prstGeom>
          <a:solidFill>
            <a:srgbClr val="008F83"/>
          </a:solidFill>
        </p:spPr>
        <p:txBody>
          <a:bodyPr lIns="252000" tIns="324000" rIns="252000" bIns="1800000"/>
          <a:lstStyle>
            <a:lvl1pPr>
              <a:defRPr>
                <a:solidFill>
                  <a:schemeClr val="bg2"/>
                </a:solidFill>
              </a:defRPr>
            </a:lvl1pPr>
          </a:lstStyle>
          <a:p>
            <a:r>
              <a:rPr lang="en-US" noProof="0"/>
              <a:t>Click to add title</a:t>
            </a:r>
            <a:endParaRPr lang="en-US"/>
          </a:p>
        </p:txBody>
      </p:sp>
      <p:sp>
        <p:nvSpPr>
          <p:cNvPr id="12" name="Text Placeholder 11">
            <a:extLst>
              <a:ext uri="{FF2B5EF4-FFF2-40B4-BE49-F238E27FC236}">
                <a16:creationId xmlns:a16="http://schemas.microsoft.com/office/drawing/2014/main" id="{A42D87D9-1191-BC0B-92D5-7F4B412E44F0}"/>
              </a:ext>
            </a:extLst>
          </p:cNvPr>
          <p:cNvSpPr>
            <a:spLocks noGrp="1"/>
          </p:cNvSpPr>
          <p:nvPr>
            <p:ph type="body" sz="quarter" idx="14" hasCustomPrompt="1"/>
          </p:nvPr>
        </p:nvSpPr>
        <p:spPr bwMode="ltGray">
          <a:xfrm>
            <a:off x="360000" y="2261523"/>
            <a:ext cx="4280400" cy="3486816"/>
          </a:xfrm>
        </p:spPr>
        <p:txBody>
          <a:bodyPr lIns="396000" rIns="396000" bIns="360000"/>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solidFill>
                  <a:schemeClr val="bg2"/>
                </a:solidFill>
              </a:defRPr>
            </a:lvl6pPr>
            <a:lvl7pPr>
              <a:defRPr>
                <a:solidFill>
                  <a:schemeClr val="bg2"/>
                </a:solidFill>
              </a:defRPr>
            </a:lvl7pPr>
            <a:lvl8pPr>
              <a:defRPr>
                <a:solidFill>
                  <a:schemeClr val="bg2"/>
                </a:solidFill>
              </a:defRPr>
            </a:lvl8pPr>
            <a:lvl9pPr>
              <a:defRPr>
                <a:solidFill>
                  <a:schemeClr val="bg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a:t>
            </a:r>
            <a:endParaRPr lang="en-US"/>
          </a:p>
        </p:txBody>
      </p:sp>
      <p:sp>
        <p:nvSpPr>
          <p:cNvPr id="4" name="Slide Number Placeholder 3">
            <a:extLst>
              <a:ext uri="{FF2B5EF4-FFF2-40B4-BE49-F238E27FC236}">
                <a16:creationId xmlns:a16="http://schemas.microsoft.com/office/drawing/2014/main" id="{BBF4FFAA-1CAF-A813-F33B-9F5C347BD35F}"/>
              </a:ext>
            </a:extLst>
          </p:cNvPr>
          <p:cNvSpPr>
            <a:spLocks noGrp="1"/>
          </p:cNvSpPr>
          <p:nvPr>
            <p:ph type="sldNum" sz="quarter" idx="11"/>
          </p:nvPr>
        </p:nvSpPr>
        <p:spPr/>
        <p:txBody>
          <a:bodyPr/>
          <a:lstStyle/>
          <a:p>
            <a:fld id="{23AA811B-2EBD-4900-905E-5BE206449611}" type="slidenum">
              <a:rPr lang="en-US" smtClean="0"/>
              <a:pPr/>
              <a:t>‹#›</a:t>
            </a:fld>
            <a:endParaRPr lang="en-US"/>
          </a:p>
        </p:txBody>
      </p:sp>
      <p:sp>
        <p:nvSpPr>
          <p:cNvPr id="5" name="Date Placeholder 5">
            <a:extLst>
              <a:ext uri="{FF2B5EF4-FFF2-40B4-BE49-F238E27FC236}">
                <a16:creationId xmlns:a16="http://schemas.microsoft.com/office/drawing/2014/main" id="{A837CC8B-E210-3CB3-8280-C80C9885A42B}"/>
              </a:ext>
            </a:extLst>
          </p:cNvPr>
          <p:cNvSpPr>
            <a:spLocks noGrp="1"/>
          </p:cNvSpPr>
          <p:nvPr>
            <p:ph type="dt" sz="half" idx="15"/>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7241047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 Infographic">
    <p:bg>
      <p:bgPr>
        <a:solidFill>
          <a:srgbClr val="035C67"/>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8CF5514-5626-5F17-2074-A1F0AB0AC691}"/>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7" name="Picture Placeholder 3">
            <a:extLst>
              <a:ext uri="{FF2B5EF4-FFF2-40B4-BE49-F238E27FC236}">
                <a16:creationId xmlns:a16="http://schemas.microsoft.com/office/drawing/2014/main" id="{62650EA4-809A-0701-39F8-766C84DCBE52}"/>
              </a:ext>
            </a:extLst>
          </p:cNvPr>
          <p:cNvSpPr>
            <a:spLocks noGrp="1"/>
          </p:cNvSpPr>
          <p:nvPr>
            <p:ph type="pic" sz="quarter" idx="13"/>
          </p:nvPr>
        </p:nvSpPr>
        <p:spPr>
          <a:xfrm>
            <a:off x="4963373" y="293689"/>
            <a:ext cx="6865090" cy="5454650"/>
          </a:xfrm>
          <a:prstGeom prst="roundRect">
            <a:avLst>
              <a:gd name="adj" fmla="val 8062"/>
            </a:avLst>
          </a:prstGeom>
          <a:solidFill>
            <a:schemeClr val="tx1">
              <a:lumMod val="75000"/>
            </a:schemeClr>
          </a:solidFill>
        </p:spPr>
        <p:txBody>
          <a:bodyPr tIns="576000" anchor="ctr" anchorCtr="0"/>
          <a:lstStyle>
            <a:lvl1pPr marL="0" indent="0" algn="ctr">
              <a:buNone/>
              <a:defRPr sz="1600">
                <a:solidFill>
                  <a:schemeClr val="bg1"/>
                </a:solidFill>
              </a:defRPr>
            </a:lvl1pPr>
          </a:lstStyle>
          <a:p>
            <a:r>
              <a:rPr lang="en-US"/>
              <a:t>Click icon to add picture</a:t>
            </a:r>
          </a:p>
        </p:txBody>
      </p:sp>
      <p:sp>
        <p:nvSpPr>
          <p:cNvPr id="2" name="Title 1">
            <a:extLst>
              <a:ext uri="{FF2B5EF4-FFF2-40B4-BE49-F238E27FC236}">
                <a16:creationId xmlns:a16="http://schemas.microsoft.com/office/drawing/2014/main" id="{1C7886CF-24AA-69A5-0D9D-3F93B4AAB603}"/>
              </a:ext>
            </a:extLst>
          </p:cNvPr>
          <p:cNvSpPr>
            <a:spLocks noGrp="1"/>
          </p:cNvSpPr>
          <p:nvPr>
            <p:ph type="title" hasCustomPrompt="1"/>
          </p:nvPr>
        </p:nvSpPr>
        <p:spPr>
          <a:xfrm>
            <a:off x="360000" y="295199"/>
            <a:ext cx="4279377" cy="5453139"/>
          </a:xfrm>
          <a:prstGeom prst="roundRect">
            <a:avLst>
              <a:gd name="adj" fmla="val 10275"/>
            </a:avLst>
          </a:prstGeom>
          <a:solidFill>
            <a:srgbClr val="3EFFC0"/>
          </a:solidFill>
        </p:spPr>
        <p:txBody>
          <a:bodyPr lIns="252000" tIns="324000" rIns="252000" bIns="1800000"/>
          <a:lstStyle>
            <a:lvl1pPr>
              <a:defRPr>
                <a:solidFill>
                  <a:schemeClr val="bg2"/>
                </a:solidFill>
              </a:defRPr>
            </a:lvl1pPr>
          </a:lstStyle>
          <a:p>
            <a:r>
              <a:rPr lang="en-US" noProof="0"/>
              <a:t>Click to add title</a:t>
            </a:r>
            <a:endParaRPr lang="en-US"/>
          </a:p>
        </p:txBody>
      </p:sp>
      <p:sp>
        <p:nvSpPr>
          <p:cNvPr id="12" name="Text Placeholder 11">
            <a:extLst>
              <a:ext uri="{FF2B5EF4-FFF2-40B4-BE49-F238E27FC236}">
                <a16:creationId xmlns:a16="http://schemas.microsoft.com/office/drawing/2014/main" id="{A42D87D9-1191-BC0B-92D5-7F4B412E44F0}"/>
              </a:ext>
            </a:extLst>
          </p:cNvPr>
          <p:cNvSpPr>
            <a:spLocks noGrp="1"/>
          </p:cNvSpPr>
          <p:nvPr>
            <p:ph type="body" sz="quarter" idx="14" hasCustomPrompt="1"/>
          </p:nvPr>
        </p:nvSpPr>
        <p:spPr>
          <a:xfrm>
            <a:off x="360000" y="2261523"/>
            <a:ext cx="4280400" cy="3486816"/>
          </a:xfrm>
        </p:spPr>
        <p:txBody>
          <a:bodyPr lIns="396000" rIns="396000" bIns="360000"/>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solidFill>
                  <a:schemeClr val="bg2"/>
                </a:solidFill>
              </a:defRPr>
            </a:lvl6pPr>
            <a:lvl7pPr>
              <a:defRPr>
                <a:solidFill>
                  <a:schemeClr val="bg2"/>
                </a:solidFill>
              </a:defRPr>
            </a:lvl7pPr>
            <a:lvl8pPr>
              <a:defRPr>
                <a:solidFill>
                  <a:schemeClr val="bg2"/>
                </a:solidFill>
              </a:defRPr>
            </a:lvl8pPr>
            <a:lvl9pPr>
              <a:defRPr>
                <a:solidFill>
                  <a:schemeClr val="bg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a:t>
            </a:r>
            <a:endParaRPr lang="en-US"/>
          </a:p>
        </p:txBody>
      </p:sp>
      <p:sp>
        <p:nvSpPr>
          <p:cNvPr id="10" name="Legal dynamic" descr="{&quot;templafy&quot;:{&quot;id&quot;:&quot;c8c7d1a1-29df-4d64-ba98-9873b529e0e8&quot;}}" title="Form.Cigna_Confidentiality.EvernorthConfidentiality">
            <a:extLst>
              <a:ext uri="{FF2B5EF4-FFF2-40B4-BE49-F238E27FC236}">
                <a16:creationId xmlns:a16="http://schemas.microsoft.com/office/drawing/2014/main" id="{4A44FDEE-8EA7-92A6-B9A0-0A2D8A90139F}"/>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1" name="Internal Stamp dynamic" descr="{&quot;templafy&quot;:{&quot;id&quot;:&quot;89ab4555-34b3-49e0-9d24-a30a0ffd9c71&quot;}}" title="Form.Cigna_Confidentiality.Cigna_confidentiality">
            <a:extLst>
              <a:ext uri="{FF2B5EF4-FFF2-40B4-BE49-F238E27FC236}">
                <a16:creationId xmlns:a16="http://schemas.microsoft.com/office/drawing/2014/main" id="{FAED2556-4223-074A-264C-10716C55E8E6}"/>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6" name="Dynamic logo hypermint" descr="{&quot;templafy&quot;:{&quot;id&quot;:&quot;56009212-d78b-4b5f-9a1c-978309627a8c&quot;}}">
            <a:extLst>
              <a:ext uri="{FF2B5EF4-FFF2-40B4-BE49-F238E27FC236}">
                <a16:creationId xmlns:a16="http://schemas.microsoft.com/office/drawing/2014/main" id="{2290736F-2399-C45B-62D3-5F22C452EBE7}"/>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4" name="Slide Number Placeholder 3">
            <a:extLst>
              <a:ext uri="{FF2B5EF4-FFF2-40B4-BE49-F238E27FC236}">
                <a16:creationId xmlns:a16="http://schemas.microsoft.com/office/drawing/2014/main" id="{BBF4FFAA-1CAF-A813-F33B-9F5C347BD35F}"/>
              </a:ext>
            </a:extLst>
          </p:cNvPr>
          <p:cNvSpPr>
            <a:spLocks noGrp="1"/>
          </p:cNvSpPr>
          <p:nvPr>
            <p:ph type="sldNum" sz="quarter" idx="11"/>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5" name="Date Placeholder 5">
            <a:extLst>
              <a:ext uri="{FF2B5EF4-FFF2-40B4-BE49-F238E27FC236}">
                <a16:creationId xmlns:a16="http://schemas.microsoft.com/office/drawing/2014/main" id="{7D45F92F-E2A8-D83F-FF28-9352FED34203}"/>
              </a:ext>
            </a:extLst>
          </p:cNvPr>
          <p:cNvSpPr>
            <a:spLocks noGrp="1"/>
          </p:cNvSpPr>
          <p:nvPr>
            <p:ph type="dt" sz="half" idx="15"/>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995690188"/>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 Infographic">
    <p:bg>
      <p:bgPr>
        <a:solidFill>
          <a:srgbClr val="035C67"/>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8CF5514-5626-5F17-2074-A1F0AB0AC691}"/>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08F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7" name="Picture Placeholder 3">
            <a:extLst>
              <a:ext uri="{FF2B5EF4-FFF2-40B4-BE49-F238E27FC236}">
                <a16:creationId xmlns:a16="http://schemas.microsoft.com/office/drawing/2014/main" id="{62650EA4-809A-0701-39F8-766C84DCBE52}"/>
              </a:ext>
            </a:extLst>
          </p:cNvPr>
          <p:cNvSpPr>
            <a:spLocks noGrp="1"/>
          </p:cNvSpPr>
          <p:nvPr>
            <p:ph type="pic" sz="quarter" idx="13"/>
          </p:nvPr>
        </p:nvSpPr>
        <p:spPr>
          <a:xfrm>
            <a:off x="4963373" y="293689"/>
            <a:ext cx="6865090" cy="5454650"/>
          </a:xfrm>
          <a:prstGeom prst="roundRect">
            <a:avLst>
              <a:gd name="adj" fmla="val 8062"/>
            </a:avLst>
          </a:prstGeom>
          <a:solidFill>
            <a:schemeClr val="tx1">
              <a:lumMod val="75000"/>
            </a:schemeClr>
          </a:solidFill>
        </p:spPr>
        <p:txBody>
          <a:bodyPr tIns="576000" anchor="ctr" anchorCtr="0"/>
          <a:lstStyle>
            <a:lvl1pPr marL="0" indent="0" algn="ctr">
              <a:buNone/>
              <a:defRPr sz="1600">
                <a:solidFill>
                  <a:schemeClr val="bg1"/>
                </a:solidFill>
              </a:defRPr>
            </a:lvl1pPr>
          </a:lstStyle>
          <a:p>
            <a:r>
              <a:rPr lang="en-US"/>
              <a:t>Click icon to add picture</a:t>
            </a:r>
          </a:p>
        </p:txBody>
      </p:sp>
      <p:sp>
        <p:nvSpPr>
          <p:cNvPr id="2" name="Title 1">
            <a:extLst>
              <a:ext uri="{FF2B5EF4-FFF2-40B4-BE49-F238E27FC236}">
                <a16:creationId xmlns:a16="http://schemas.microsoft.com/office/drawing/2014/main" id="{1C7886CF-24AA-69A5-0D9D-3F93B4AAB603}"/>
              </a:ext>
            </a:extLst>
          </p:cNvPr>
          <p:cNvSpPr>
            <a:spLocks noGrp="1"/>
          </p:cNvSpPr>
          <p:nvPr>
            <p:ph type="title" hasCustomPrompt="1"/>
          </p:nvPr>
        </p:nvSpPr>
        <p:spPr>
          <a:xfrm>
            <a:off x="360000" y="295199"/>
            <a:ext cx="4279377" cy="5453139"/>
          </a:xfrm>
          <a:prstGeom prst="roundRect">
            <a:avLst>
              <a:gd name="adj" fmla="val 10275"/>
            </a:avLst>
          </a:prstGeom>
          <a:solidFill>
            <a:schemeClr val="tx2"/>
          </a:solidFill>
        </p:spPr>
        <p:txBody>
          <a:bodyPr lIns="252000" tIns="324000" rIns="252000" bIns="1800000"/>
          <a:lstStyle>
            <a:lvl1pPr>
              <a:defRPr>
                <a:solidFill>
                  <a:schemeClr val="bg2"/>
                </a:solidFill>
              </a:defRPr>
            </a:lvl1pPr>
          </a:lstStyle>
          <a:p>
            <a:r>
              <a:rPr lang="en-US" noProof="0"/>
              <a:t>Click to add title</a:t>
            </a:r>
            <a:endParaRPr lang="en-US"/>
          </a:p>
        </p:txBody>
      </p:sp>
      <p:sp>
        <p:nvSpPr>
          <p:cNvPr id="12" name="Text Placeholder 11">
            <a:extLst>
              <a:ext uri="{FF2B5EF4-FFF2-40B4-BE49-F238E27FC236}">
                <a16:creationId xmlns:a16="http://schemas.microsoft.com/office/drawing/2014/main" id="{A42D87D9-1191-BC0B-92D5-7F4B412E44F0}"/>
              </a:ext>
            </a:extLst>
          </p:cNvPr>
          <p:cNvSpPr>
            <a:spLocks noGrp="1"/>
          </p:cNvSpPr>
          <p:nvPr>
            <p:ph type="body" sz="quarter" idx="14" hasCustomPrompt="1"/>
          </p:nvPr>
        </p:nvSpPr>
        <p:spPr>
          <a:xfrm>
            <a:off x="360000" y="2261523"/>
            <a:ext cx="4280400" cy="3486816"/>
          </a:xfrm>
        </p:spPr>
        <p:txBody>
          <a:bodyPr lIns="396000" rIns="396000" bIns="360000"/>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solidFill>
                  <a:schemeClr val="bg2"/>
                </a:solidFill>
              </a:defRPr>
            </a:lvl6pPr>
            <a:lvl7pPr>
              <a:defRPr>
                <a:solidFill>
                  <a:schemeClr val="bg2"/>
                </a:solidFill>
              </a:defRPr>
            </a:lvl7pPr>
            <a:lvl8pPr>
              <a:defRPr>
                <a:solidFill>
                  <a:schemeClr val="bg2"/>
                </a:solidFill>
              </a:defRPr>
            </a:lvl8pPr>
            <a:lvl9pPr>
              <a:defRPr>
                <a:solidFill>
                  <a:schemeClr val="bg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a:t>
            </a:r>
            <a:endParaRPr lang="en-US"/>
          </a:p>
        </p:txBody>
      </p:sp>
      <p:sp>
        <p:nvSpPr>
          <p:cNvPr id="10" name="Legal dynamic" descr="{&quot;templafy&quot;:{&quot;id&quot;:&quot;54a61027-746a-45eb-8dba-9625edadeb13&quot;}}" title="Form.Cigna_Confidentiality.EvernorthConfidentiality">
            <a:extLst>
              <a:ext uri="{FF2B5EF4-FFF2-40B4-BE49-F238E27FC236}">
                <a16:creationId xmlns:a16="http://schemas.microsoft.com/office/drawing/2014/main" id="{4A44FDEE-8EA7-92A6-B9A0-0A2D8A90139F}"/>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02F3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1" name="Internal Stamp dynamic" descr="{&quot;templafy&quot;:{&quot;id&quot;:&quot;5fadf611-20e2-4201-9763-a5a854a56449&quot;}}" title="Form.Cigna_Confidentiality.Cigna_confidentiality">
            <a:extLst>
              <a:ext uri="{FF2B5EF4-FFF2-40B4-BE49-F238E27FC236}">
                <a16:creationId xmlns:a16="http://schemas.microsoft.com/office/drawing/2014/main" id="{FAED2556-4223-074A-264C-10716C55E8E6}"/>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02F32"/>
                </a:solidFill>
                <a:effectLst/>
                <a:latin typeface="Arial Narrow" panose="020B0604020202020204" pitchFamily="34" charset="0"/>
                <a:ea typeface="+mn-ea"/>
                <a:cs typeface="+mn-cs"/>
              </a:rPr>
              <a:t>For internal use only. Use and distribution limited solely to authorized personnel.</a:t>
            </a:r>
          </a:p>
        </p:txBody>
      </p:sp>
      <p:pic>
        <p:nvPicPr>
          <p:cNvPr id="5" name="Dynamic logo hypermint" descr="{&quot;templafy&quot;:{&quot;id&quot;:&quot;72d8a2a4-fb2a-4546-8c54-ee9e8d5afa15&quot;}}">
            <a:extLst>
              <a:ext uri="{FF2B5EF4-FFF2-40B4-BE49-F238E27FC236}">
                <a16:creationId xmlns:a16="http://schemas.microsoft.com/office/drawing/2014/main" id="{88B2B38E-015F-B959-63CF-3E10323F8A9B}"/>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4" name="Slide Number Placeholder 3">
            <a:extLst>
              <a:ext uri="{FF2B5EF4-FFF2-40B4-BE49-F238E27FC236}">
                <a16:creationId xmlns:a16="http://schemas.microsoft.com/office/drawing/2014/main" id="{BBF4FFAA-1CAF-A813-F33B-9F5C347BD35F}"/>
              </a:ext>
            </a:extLst>
          </p:cNvPr>
          <p:cNvSpPr>
            <a:spLocks noGrp="1"/>
          </p:cNvSpPr>
          <p:nvPr>
            <p:ph type="sldNum" sz="quarter" idx="11"/>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8AE6A719-7BCC-199A-A51D-E3DB94C65102}"/>
              </a:ext>
            </a:extLst>
          </p:cNvPr>
          <p:cNvSpPr>
            <a:spLocks noGrp="1"/>
          </p:cNvSpPr>
          <p:nvPr>
            <p:ph type="dt" sz="half" idx="15"/>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198712936"/>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Infographic">
    <p:bg>
      <p:bgPr>
        <a:solidFill>
          <a:srgbClr val="3EFFC0"/>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8CF5514-5626-5F17-2074-A1F0AB0AC691}"/>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7" name="Picture Placeholder 3">
            <a:extLst>
              <a:ext uri="{FF2B5EF4-FFF2-40B4-BE49-F238E27FC236}">
                <a16:creationId xmlns:a16="http://schemas.microsoft.com/office/drawing/2014/main" id="{62650EA4-809A-0701-39F8-766C84DCBE52}"/>
              </a:ext>
            </a:extLst>
          </p:cNvPr>
          <p:cNvSpPr>
            <a:spLocks noGrp="1"/>
          </p:cNvSpPr>
          <p:nvPr>
            <p:ph type="pic" sz="quarter" idx="13"/>
          </p:nvPr>
        </p:nvSpPr>
        <p:spPr>
          <a:xfrm>
            <a:off x="4963373" y="293689"/>
            <a:ext cx="6865090" cy="5454650"/>
          </a:xfrm>
          <a:prstGeom prst="roundRect">
            <a:avLst>
              <a:gd name="adj" fmla="val 8062"/>
            </a:avLst>
          </a:prstGeom>
          <a:solidFill>
            <a:schemeClr val="tx1">
              <a:lumMod val="75000"/>
            </a:schemeClr>
          </a:solidFill>
        </p:spPr>
        <p:txBody>
          <a:bodyPr tIns="576000" anchor="ctr" anchorCtr="0"/>
          <a:lstStyle>
            <a:lvl1pPr marL="0" indent="0" algn="ctr">
              <a:buNone/>
              <a:defRPr sz="1600">
                <a:solidFill>
                  <a:schemeClr val="bg1"/>
                </a:solidFill>
              </a:defRPr>
            </a:lvl1pPr>
          </a:lstStyle>
          <a:p>
            <a:r>
              <a:rPr lang="en-US"/>
              <a:t>Click icon to add picture</a:t>
            </a:r>
          </a:p>
        </p:txBody>
      </p:sp>
      <p:sp>
        <p:nvSpPr>
          <p:cNvPr id="2" name="Title 1">
            <a:extLst>
              <a:ext uri="{FF2B5EF4-FFF2-40B4-BE49-F238E27FC236}">
                <a16:creationId xmlns:a16="http://schemas.microsoft.com/office/drawing/2014/main" id="{1C7886CF-24AA-69A5-0D9D-3F93B4AAB603}"/>
              </a:ext>
            </a:extLst>
          </p:cNvPr>
          <p:cNvSpPr>
            <a:spLocks noGrp="1"/>
          </p:cNvSpPr>
          <p:nvPr>
            <p:ph type="title" hasCustomPrompt="1"/>
          </p:nvPr>
        </p:nvSpPr>
        <p:spPr>
          <a:xfrm>
            <a:off x="360000" y="295199"/>
            <a:ext cx="4279377" cy="5453139"/>
          </a:xfrm>
          <a:prstGeom prst="roundRect">
            <a:avLst>
              <a:gd name="adj" fmla="val 10275"/>
            </a:avLst>
          </a:prstGeom>
          <a:solidFill>
            <a:srgbClr val="035C67"/>
          </a:solidFill>
        </p:spPr>
        <p:txBody>
          <a:bodyPr lIns="252000" tIns="324000" rIns="252000" bIns="1800000"/>
          <a:lstStyle>
            <a:lvl1pPr>
              <a:defRPr>
                <a:solidFill>
                  <a:schemeClr val="tx2"/>
                </a:solidFill>
              </a:defRPr>
            </a:lvl1pPr>
          </a:lstStyle>
          <a:p>
            <a:r>
              <a:rPr lang="en-US" noProof="0"/>
              <a:t>Click to add title</a:t>
            </a:r>
            <a:endParaRPr lang="en-US"/>
          </a:p>
        </p:txBody>
      </p:sp>
      <p:sp>
        <p:nvSpPr>
          <p:cNvPr id="12" name="Text Placeholder 11">
            <a:extLst>
              <a:ext uri="{FF2B5EF4-FFF2-40B4-BE49-F238E27FC236}">
                <a16:creationId xmlns:a16="http://schemas.microsoft.com/office/drawing/2014/main" id="{A42D87D9-1191-BC0B-92D5-7F4B412E44F0}"/>
              </a:ext>
            </a:extLst>
          </p:cNvPr>
          <p:cNvSpPr>
            <a:spLocks noGrp="1"/>
          </p:cNvSpPr>
          <p:nvPr>
            <p:ph type="body" sz="quarter" idx="14" hasCustomPrompt="1"/>
          </p:nvPr>
        </p:nvSpPr>
        <p:spPr>
          <a:xfrm>
            <a:off x="360000" y="2261523"/>
            <a:ext cx="4280400" cy="3486816"/>
          </a:xfrm>
        </p:spPr>
        <p:txBody>
          <a:bodyPr lIns="396000" rIns="396000" bIns="360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a:t>
            </a:r>
            <a:endParaRPr lang="en-US"/>
          </a:p>
        </p:txBody>
      </p:sp>
      <p:sp>
        <p:nvSpPr>
          <p:cNvPr id="10" name="Legal dynamic" descr="{&quot;templafy&quot;:{&quot;id&quot;:&quot;74c7f1ba-d9bb-4348-966a-bcbb6e7aed32&quot;}}" title="Form.Cigna_Confidentiality.EvernorthConfidentiality">
            <a:extLst>
              <a:ext uri="{FF2B5EF4-FFF2-40B4-BE49-F238E27FC236}">
                <a16:creationId xmlns:a16="http://schemas.microsoft.com/office/drawing/2014/main" id="{4A44FDEE-8EA7-92A6-B9A0-0A2D8A90139F}"/>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1" name="Internal Stamp dynamic" descr="{&quot;templafy&quot;:{&quot;id&quot;:&quot;0077ad39-642f-43c5-8d08-113028de8789&quot;}}" title="Form.Cigna_Confidentiality.Cigna_confidentiality">
            <a:extLst>
              <a:ext uri="{FF2B5EF4-FFF2-40B4-BE49-F238E27FC236}">
                <a16:creationId xmlns:a16="http://schemas.microsoft.com/office/drawing/2014/main" id="{FAED2556-4223-074A-264C-10716C55E8E6}"/>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5" name="Dynamic logo dark mint" descr="{&quot;templafy&quot;:{&quot;id&quot;:&quot;cf82705e-04da-45a4-ae8b-96569da01a4d&quot;}}">
            <a:extLst>
              <a:ext uri="{FF2B5EF4-FFF2-40B4-BE49-F238E27FC236}">
                <a16:creationId xmlns:a16="http://schemas.microsoft.com/office/drawing/2014/main" id="{B06D5A2A-FF10-C373-0A6D-E8DEE28EE5FE}"/>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4" name="Slide Number Placeholder 3">
            <a:extLst>
              <a:ext uri="{FF2B5EF4-FFF2-40B4-BE49-F238E27FC236}">
                <a16:creationId xmlns:a16="http://schemas.microsoft.com/office/drawing/2014/main" id="{BBF4FFAA-1CAF-A813-F33B-9F5C347BD35F}"/>
              </a:ext>
            </a:extLst>
          </p:cNvPr>
          <p:cNvSpPr>
            <a:spLocks noGrp="1"/>
          </p:cNvSpPr>
          <p:nvPr>
            <p:ph type="sldNum" sz="quarter" idx="11"/>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E9DE4B5B-7EEA-B431-4944-D618326CB5C4}"/>
              </a:ext>
            </a:extLst>
          </p:cNvPr>
          <p:cNvSpPr>
            <a:spLocks noGrp="1"/>
          </p:cNvSpPr>
          <p:nvPr>
            <p:ph type="dt" sz="half" idx="15"/>
          </p:nvPr>
        </p:nvSpPr>
        <p:spPr>
          <a:xfrm>
            <a:off x="10630800" y="6364800"/>
            <a:ext cx="691200" cy="180000"/>
          </a:xfrm>
        </p:spPr>
        <p:txBody>
          <a:bodyPr/>
          <a:lstStyle>
            <a:lvl1pPr>
              <a:defRPr>
                <a:solidFill>
                  <a:srgbClr val="035C67"/>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3050559655"/>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 Cover">
    <p:bg bwMode="ltGray">
      <p:bgPr>
        <a:solidFill>
          <a:schemeClr val="tx1"/>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pic>
        <p:nvPicPr>
          <p:cNvPr id="8" name="Picture 7" descr="A person looking at a cell phone&#10;&#10;Description automatically generated">
            <a:extLst>
              <a:ext uri="{FF2B5EF4-FFF2-40B4-BE49-F238E27FC236}">
                <a16:creationId xmlns:a16="http://schemas.microsoft.com/office/drawing/2014/main" id="{FCE1784D-AC37-CB9A-2D85-F1E62342ABBD}"/>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7" name="Graphic">
            <a:extLst>
              <a:ext uri="{FF2B5EF4-FFF2-40B4-BE49-F238E27FC236}">
                <a16:creationId xmlns:a16="http://schemas.microsoft.com/office/drawing/2014/main" id="{2D32B9E0-AECD-F5E4-582D-93E292EB3F0B}"/>
              </a:ext>
            </a:extLst>
          </p:cNvPr>
          <p:cNvSpPr/>
          <p:nvPr userDrawn="1"/>
        </p:nvSpPr>
        <p:spPr>
          <a:xfrm>
            <a:off x="358775" y="358775"/>
            <a:ext cx="11469688" cy="6138000"/>
          </a:xfrm>
          <a:custGeom>
            <a:avLst/>
            <a:gdLst>
              <a:gd name="connsiteX0" fmla="*/ 8117764 w 11469688"/>
              <a:gd name="connsiteY0" fmla="*/ 532822 h 6138000"/>
              <a:gd name="connsiteX1" fmla="*/ 7810298 w 11469688"/>
              <a:gd name="connsiteY1" fmla="*/ 840285 h 6138000"/>
              <a:gd name="connsiteX2" fmla="*/ 7810298 w 11469688"/>
              <a:gd name="connsiteY2" fmla="*/ 1839636 h 6138000"/>
              <a:gd name="connsiteX3" fmla="*/ 7579668 w 11469688"/>
              <a:gd name="connsiteY3" fmla="*/ 2070265 h 6138000"/>
              <a:gd name="connsiteX4" fmla="*/ 6580310 w 11469688"/>
              <a:gd name="connsiteY4" fmla="*/ 2070265 h 6138000"/>
              <a:gd name="connsiteX5" fmla="*/ 6272844 w 11469688"/>
              <a:gd name="connsiteY5" fmla="*/ 2377728 h 6138000"/>
              <a:gd name="connsiteX6" fmla="*/ 6272844 w 11469688"/>
              <a:gd name="connsiteY6" fmla="*/ 3300118 h 6138000"/>
              <a:gd name="connsiteX7" fmla="*/ 6580310 w 11469688"/>
              <a:gd name="connsiteY7" fmla="*/ 3607581 h 6138000"/>
              <a:gd name="connsiteX8" fmla="*/ 7579668 w 11469688"/>
              <a:gd name="connsiteY8" fmla="*/ 3607581 h 6138000"/>
              <a:gd name="connsiteX9" fmla="*/ 7810298 w 11469688"/>
              <a:gd name="connsiteY9" fmla="*/ 3838210 h 6138000"/>
              <a:gd name="connsiteX10" fmla="*/ 7810298 w 11469688"/>
              <a:gd name="connsiteY10" fmla="*/ 4837561 h 6138000"/>
              <a:gd name="connsiteX11" fmla="*/ 8117764 w 11469688"/>
              <a:gd name="connsiteY11" fmla="*/ 5145024 h 6138000"/>
              <a:gd name="connsiteX12" fmla="*/ 9040160 w 11469688"/>
              <a:gd name="connsiteY12" fmla="*/ 5145024 h 6138000"/>
              <a:gd name="connsiteX13" fmla="*/ 9347625 w 11469688"/>
              <a:gd name="connsiteY13" fmla="*/ 4837561 h 6138000"/>
              <a:gd name="connsiteX14" fmla="*/ 9347625 w 11469688"/>
              <a:gd name="connsiteY14" fmla="*/ 3838210 h 6138000"/>
              <a:gd name="connsiteX15" fmla="*/ 9578256 w 11469688"/>
              <a:gd name="connsiteY15" fmla="*/ 3607581 h 6138000"/>
              <a:gd name="connsiteX16" fmla="*/ 10577614 w 11469688"/>
              <a:gd name="connsiteY16" fmla="*/ 3607581 h 6138000"/>
              <a:gd name="connsiteX17" fmla="*/ 10885079 w 11469688"/>
              <a:gd name="connsiteY17" fmla="*/ 3300118 h 6138000"/>
              <a:gd name="connsiteX18" fmla="*/ 10885079 w 11469688"/>
              <a:gd name="connsiteY18" fmla="*/ 2377728 h 6138000"/>
              <a:gd name="connsiteX19" fmla="*/ 10577614 w 11469688"/>
              <a:gd name="connsiteY19" fmla="*/ 2070265 h 6138000"/>
              <a:gd name="connsiteX20" fmla="*/ 9578256 w 11469688"/>
              <a:gd name="connsiteY20" fmla="*/ 2070265 h 6138000"/>
              <a:gd name="connsiteX21" fmla="*/ 9347625 w 11469688"/>
              <a:gd name="connsiteY21" fmla="*/ 1839636 h 6138000"/>
              <a:gd name="connsiteX22" fmla="*/ 9347625 w 11469688"/>
              <a:gd name="connsiteY22" fmla="*/ 840285 h 6138000"/>
              <a:gd name="connsiteX23" fmla="*/ 9040160 w 11469688"/>
              <a:gd name="connsiteY23" fmla="*/ 532822 h 6138000"/>
              <a:gd name="connsiteX24" fmla="*/ 449486 w 11469688"/>
              <a:gd name="connsiteY24" fmla="*/ 0 h 6138000"/>
              <a:gd name="connsiteX25" fmla="*/ 11020202 w 11469688"/>
              <a:gd name="connsiteY25" fmla="*/ 0 h 6138000"/>
              <a:gd name="connsiteX26" fmla="*/ 11469688 w 11469688"/>
              <a:gd name="connsiteY26" fmla="*/ 449486 h 6138000"/>
              <a:gd name="connsiteX27" fmla="*/ 11469688 w 11469688"/>
              <a:gd name="connsiteY27" fmla="*/ 5688514 h 6138000"/>
              <a:gd name="connsiteX28" fmla="*/ 11020202 w 11469688"/>
              <a:gd name="connsiteY28" fmla="*/ 6138000 h 6138000"/>
              <a:gd name="connsiteX29" fmla="*/ 449486 w 11469688"/>
              <a:gd name="connsiteY29" fmla="*/ 6138000 h 6138000"/>
              <a:gd name="connsiteX30" fmla="*/ 0 w 11469688"/>
              <a:gd name="connsiteY30" fmla="*/ 5688514 h 6138000"/>
              <a:gd name="connsiteX31" fmla="*/ 0 w 11469688"/>
              <a:gd name="connsiteY31" fmla="*/ 449486 h 6138000"/>
              <a:gd name="connsiteX32" fmla="*/ 449486 w 11469688"/>
              <a:gd name="connsiteY32" fmla="*/ 0 h 613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469688" h="6138000">
                <a:moveTo>
                  <a:pt x="8117764" y="532822"/>
                </a:moveTo>
                <a:cubicBezTo>
                  <a:pt x="7947966" y="532822"/>
                  <a:pt x="7810298" y="670488"/>
                  <a:pt x="7810298" y="840285"/>
                </a:cubicBezTo>
                <a:lnTo>
                  <a:pt x="7810298" y="1839636"/>
                </a:lnTo>
                <a:cubicBezTo>
                  <a:pt x="7810298" y="1967015"/>
                  <a:pt x="7707048" y="2070265"/>
                  <a:pt x="7579668" y="2070265"/>
                </a:cubicBezTo>
                <a:lnTo>
                  <a:pt x="6580310" y="2070265"/>
                </a:lnTo>
                <a:cubicBezTo>
                  <a:pt x="6410512" y="2070265"/>
                  <a:pt x="6272844" y="2207931"/>
                  <a:pt x="6272844" y="2377728"/>
                </a:cubicBezTo>
                <a:lnTo>
                  <a:pt x="6272844" y="3300118"/>
                </a:lnTo>
                <a:cubicBezTo>
                  <a:pt x="6272844" y="3469915"/>
                  <a:pt x="6410512" y="3607581"/>
                  <a:pt x="6580310" y="3607581"/>
                </a:cubicBezTo>
                <a:lnTo>
                  <a:pt x="7579668" y="3607581"/>
                </a:lnTo>
                <a:cubicBezTo>
                  <a:pt x="7707048" y="3607581"/>
                  <a:pt x="7810298" y="3710831"/>
                  <a:pt x="7810298" y="3838210"/>
                </a:cubicBezTo>
                <a:lnTo>
                  <a:pt x="7810298" y="4837561"/>
                </a:lnTo>
                <a:cubicBezTo>
                  <a:pt x="7810298" y="5007358"/>
                  <a:pt x="7947966" y="5145024"/>
                  <a:pt x="8117764" y="5145024"/>
                </a:cubicBezTo>
                <a:lnTo>
                  <a:pt x="9040160" y="5145024"/>
                </a:lnTo>
                <a:cubicBezTo>
                  <a:pt x="9209958" y="5145024"/>
                  <a:pt x="9347625" y="5007358"/>
                  <a:pt x="9347625" y="4837561"/>
                </a:cubicBezTo>
                <a:lnTo>
                  <a:pt x="9347625" y="3838210"/>
                </a:lnTo>
                <a:cubicBezTo>
                  <a:pt x="9347625" y="3710831"/>
                  <a:pt x="9450876" y="3607581"/>
                  <a:pt x="9578256" y="3607581"/>
                </a:cubicBezTo>
                <a:lnTo>
                  <a:pt x="10577614" y="3607581"/>
                </a:lnTo>
                <a:cubicBezTo>
                  <a:pt x="10747412" y="3607581"/>
                  <a:pt x="10885079" y="3469915"/>
                  <a:pt x="10885079" y="3300118"/>
                </a:cubicBezTo>
                <a:lnTo>
                  <a:pt x="10885079" y="2377728"/>
                </a:lnTo>
                <a:cubicBezTo>
                  <a:pt x="10885079" y="2207931"/>
                  <a:pt x="10747412" y="2070265"/>
                  <a:pt x="10577614" y="2070265"/>
                </a:cubicBezTo>
                <a:lnTo>
                  <a:pt x="9578256" y="2070265"/>
                </a:lnTo>
                <a:cubicBezTo>
                  <a:pt x="9450876" y="2070265"/>
                  <a:pt x="9347625" y="1967015"/>
                  <a:pt x="9347625" y="1839636"/>
                </a:cubicBezTo>
                <a:lnTo>
                  <a:pt x="9347625" y="840285"/>
                </a:lnTo>
                <a:cubicBezTo>
                  <a:pt x="9347625" y="670488"/>
                  <a:pt x="9209958" y="532822"/>
                  <a:pt x="9040160" y="532822"/>
                </a:cubicBezTo>
                <a:close/>
                <a:moveTo>
                  <a:pt x="449486" y="0"/>
                </a:moveTo>
                <a:lnTo>
                  <a:pt x="11020202" y="0"/>
                </a:lnTo>
                <a:cubicBezTo>
                  <a:pt x="11268446" y="0"/>
                  <a:pt x="11469688" y="201242"/>
                  <a:pt x="11469688" y="449486"/>
                </a:cubicBezTo>
                <a:lnTo>
                  <a:pt x="11469688" y="5688514"/>
                </a:lnTo>
                <a:cubicBezTo>
                  <a:pt x="11469688" y="5936758"/>
                  <a:pt x="11268446" y="6138000"/>
                  <a:pt x="11020202" y="6138000"/>
                </a:cubicBezTo>
                <a:lnTo>
                  <a:pt x="449486" y="6138000"/>
                </a:lnTo>
                <a:cubicBezTo>
                  <a:pt x="201242" y="6138000"/>
                  <a:pt x="0" y="5936758"/>
                  <a:pt x="0" y="5688514"/>
                </a:cubicBezTo>
                <a:lnTo>
                  <a:pt x="0" y="449486"/>
                </a:lnTo>
                <a:cubicBezTo>
                  <a:pt x="0" y="201242"/>
                  <a:pt x="201242" y="0"/>
                  <a:pt x="44948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2" name="Title 1"/>
          <p:cNvSpPr>
            <a:spLocks noGrp="1"/>
          </p:cNvSpPr>
          <p:nvPr>
            <p:ph type="ctrTitle" hasCustomPrompt="1"/>
          </p:nvPr>
        </p:nvSpPr>
        <p:spPr bwMode="white">
          <a:xfrm>
            <a:off x="841248" y="1450800"/>
            <a:ext cx="5165852" cy="1820862"/>
          </a:xfrm>
          <a:noFill/>
        </p:spPr>
        <p:txBody>
          <a:bodyPr anchor="b" anchorCtr="0"/>
          <a:lstStyle>
            <a:lvl1pPr algn="l">
              <a:lnSpc>
                <a:spcPct val="85000"/>
              </a:lnSpc>
              <a:defRPr sz="6000" b="0">
                <a:solidFill>
                  <a:srgbClr val="035C67"/>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bwMode="white">
          <a:xfrm>
            <a:off x="841248" y="3654000"/>
            <a:ext cx="5165852" cy="1728000"/>
          </a:xfrm>
        </p:spPr>
        <p:txBody>
          <a:bodyPr/>
          <a:lstStyle>
            <a:lvl1pPr marL="0" indent="0">
              <a:lnSpc>
                <a:spcPct val="105000"/>
              </a:lnSpc>
              <a:buNone/>
              <a:defRPr sz="2200">
                <a:solidFill>
                  <a:srgbClr val="002F3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sp>
        <p:nvSpPr>
          <p:cNvPr id="15" name="Legal dynamic" descr="{&quot;templafy&quot;:{&quot;id&quot;:&quot;8a55465c-e69b-42c7-b96c-d4e3c3b38d5f&quot;}}" title="Form.Cigna_Confidentiality.EvernorthConfidentiality">
            <a:extLst>
              <a:ext uri="{FF2B5EF4-FFF2-40B4-BE49-F238E27FC236}">
                <a16:creationId xmlns:a16="http://schemas.microsoft.com/office/drawing/2014/main" id="{9F01B46A-535C-85FD-CBBA-B7D9FD817E62}"/>
              </a:ext>
            </a:extLst>
          </p:cNvPr>
          <p:cNvSpPr/>
          <p:nvPr userDrawn="1"/>
        </p:nvSpPr>
        <p:spPr bwMode="white">
          <a:xfrm>
            <a:off x="5430786" y="5903806"/>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6" name="Internal Stamp dynamic" descr="{&quot;templafy&quot;:{&quot;id&quot;:&quot;d039f5c3-bebd-4012-9a03-d3e41eb16a18&quot;}}" title="Form.Cigna_Confidentiality.Cigna_confidentiality">
            <a:extLst>
              <a:ext uri="{FF2B5EF4-FFF2-40B4-BE49-F238E27FC236}">
                <a16:creationId xmlns:a16="http://schemas.microsoft.com/office/drawing/2014/main" id="{CC8FB2CC-F10A-4F4F-8F20-94D3B3E328E4}"/>
              </a:ext>
            </a:extLst>
          </p:cNvPr>
          <p:cNvSpPr/>
          <p:nvPr userDrawn="1"/>
        </p:nvSpPr>
        <p:spPr bwMode="white">
          <a:xfrm>
            <a:off x="3096000" y="5903806"/>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9" name="Dynamic logo hypermint" descr="{&quot;templafy&quot;:{&quot;id&quot;:&quot;43eee494-2436-48ea-885f-3075a274aeb7&quot;}}">
            <a:extLst>
              <a:ext uri="{FF2B5EF4-FFF2-40B4-BE49-F238E27FC236}">
                <a16:creationId xmlns:a16="http://schemas.microsoft.com/office/drawing/2014/main" id="{E28C1A86-C1C8-EA1C-1CED-B0396D9603B4}"/>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820800" y="5569199"/>
            <a:ext cx="2145868" cy="756094"/>
          </a:xfrm>
          <a:prstGeom prst="rect">
            <a:avLst/>
          </a:prstGeom>
        </p:spPr>
      </p:pic>
      <p:sp>
        <p:nvSpPr>
          <p:cNvPr id="3" name="Legal dynamic" descr="{&quot;templafy&quot;:{&quot;id&quot;:&quot;6b2e626a-0b47-45dd-8879-7c8c954c41c4&quot;}}" title="Form.Cigna_Confidentiality.EvernorthConfidentiality">
            <a:extLst>
              <a:ext uri="{FF2B5EF4-FFF2-40B4-BE49-F238E27FC236}">
                <a16:creationId xmlns:a16="http://schemas.microsoft.com/office/drawing/2014/main" id="{E3E168DE-3666-A75F-7A99-B99860A3FA72}"/>
              </a:ext>
            </a:extLst>
          </p:cNvPr>
          <p:cNvSpPr/>
          <p:nvPr userDrawn="1"/>
        </p:nvSpPr>
        <p:spPr>
          <a:xfrm>
            <a:off x="5430786" y="5903806"/>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7" name="Internal Stamp dynamic" descr="{&quot;templafy&quot;:{&quot;id&quot;:&quot;94a91593-1ca5-4fed-896f-c971f8da696b&quot;}}" title="Form.Cigna_Confidentiality.Cigna_confidentiality">
            <a:extLst>
              <a:ext uri="{FF2B5EF4-FFF2-40B4-BE49-F238E27FC236}">
                <a16:creationId xmlns:a16="http://schemas.microsoft.com/office/drawing/2014/main" id="{87ED3EC6-8CD5-8F56-5A1E-4519922DB82A}"/>
              </a:ext>
            </a:extLst>
          </p:cNvPr>
          <p:cNvSpPr/>
          <p:nvPr userDrawn="1"/>
        </p:nvSpPr>
        <p:spPr>
          <a:xfrm>
            <a:off x="3096000" y="5903806"/>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13" name="Dynamic logo dark mint" descr="{&quot;templafy&quot;:{&quot;id&quot;:&quot;0a63fe25-835f-49ac-be44-bcbb92ef03ad&quot;}}">
            <a:extLst>
              <a:ext uri="{FF2B5EF4-FFF2-40B4-BE49-F238E27FC236}">
                <a16:creationId xmlns:a16="http://schemas.microsoft.com/office/drawing/2014/main" id="{3833E8B4-AC23-A0C5-02FC-C60E70231E7E}"/>
              </a:ext>
            </a:extLst>
          </p:cNvPr>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820800" y="5569199"/>
            <a:ext cx="2145868" cy="756094"/>
          </a:xfrm>
          <a:prstGeom prst="rect">
            <a:avLst/>
          </a:prstGeom>
        </p:spPr>
      </p:pic>
      <p:sp>
        <p:nvSpPr>
          <p:cNvPr id="12" name="Slide Number Placeholder 12">
            <a:extLst>
              <a:ext uri="{FF2B5EF4-FFF2-40B4-BE49-F238E27FC236}">
                <a16:creationId xmlns:a16="http://schemas.microsoft.com/office/drawing/2014/main" id="{2D5D4697-45A6-57B0-E6E5-C64E11CA7C78}"/>
              </a:ext>
            </a:extLst>
          </p:cNvPr>
          <p:cNvSpPr>
            <a:spLocks noGrp="1"/>
          </p:cNvSpPr>
          <p:nvPr>
            <p:ph type="sldNum" sz="quarter" idx="16"/>
          </p:nvPr>
        </p:nvSpPr>
        <p:spPr>
          <a:xfrm>
            <a:off x="11068880" y="6051600"/>
            <a:ext cx="266400" cy="180000"/>
          </a:xfrm>
        </p:spPr>
        <p:txBody>
          <a:bodyPr/>
          <a:lstStyle>
            <a:lvl1pPr>
              <a:defRPr>
                <a:solidFill>
                  <a:srgbClr val="035C67"/>
                </a:solidFill>
              </a:defRPr>
            </a:lvl1pPr>
          </a:lstStyle>
          <a:p>
            <a:fld id="{23AA811B-2EBD-4900-905E-5BE206449611}" type="slidenum">
              <a:rPr lang="en-US" smtClean="0"/>
              <a:pPr/>
              <a:t>‹#›</a:t>
            </a:fld>
            <a:endParaRPr lang="en-US"/>
          </a:p>
        </p:txBody>
      </p:sp>
      <p:sp>
        <p:nvSpPr>
          <p:cNvPr id="5" name="Date Placeholder 2">
            <a:extLst>
              <a:ext uri="{FF2B5EF4-FFF2-40B4-BE49-F238E27FC236}">
                <a16:creationId xmlns:a16="http://schemas.microsoft.com/office/drawing/2014/main" id="{14A243D9-8BEB-8E47-29FB-242B56D7C754}"/>
              </a:ext>
            </a:extLst>
          </p:cNvPr>
          <p:cNvSpPr>
            <a:spLocks noGrp="1"/>
          </p:cNvSpPr>
          <p:nvPr>
            <p:ph type="dt" sz="half" idx="17"/>
          </p:nvPr>
        </p:nvSpPr>
        <p:spPr>
          <a:xfrm>
            <a:off x="10141200" y="6051600"/>
            <a:ext cx="691200" cy="180000"/>
          </a:xfrm>
        </p:spPr>
        <p:txBody>
          <a:bodyPr/>
          <a:lstStyle>
            <a:lvl1pPr>
              <a:defRPr>
                <a:solidFill>
                  <a:srgbClr val="035C67"/>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7255221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300">
          <p15:clr>
            <a:srgbClr val="F26B43"/>
          </p15:clr>
        </p15:guide>
        <p15:guide id="2" orient="horz" pos="2064">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 Infographic">
    <p:bg>
      <p:bgRef idx="1001">
        <a:schemeClr val="bg1"/>
      </p:bgRef>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8CF5514-5626-5F17-2074-A1F0AB0AC691}"/>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7" name="Picture Placeholder 3">
            <a:extLst>
              <a:ext uri="{FF2B5EF4-FFF2-40B4-BE49-F238E27FC236}">
                <a16:creationId xmlns:a16="http://schemas.microsoft.com/office/drawing/2014/main" id="{62650EA4-809A-0701-39F8-766C84DCBE52}"/>
              </a:ext>
            </a:extLst>
          </p:cNvPr>
          <p:cNvSpPr>
            <a:spLocks noGrp="1"/>
          </p:cNvSpPr>
          <p:nvPr>
            <p:ph type="pic" sz="quarter" idx="13"/>
          </p:nvPr>
        </p:nvSpPr>
        <p:spPr>
          <a:xfrm>
            <a:off x="4963373" y="293689"/>
            <a:ext cx="6865090" cy="5454650"/>
          </a:xfrm>
          <a:prstGeom prst="roundRect">
            <a:avLst>
              <a:gd name="adj" fmla="val 8062"/>
            </a:avLst>
          </a:prstGeom>
          <a:solidFill>
            <a:schemeClr val="bg1">
              <a:lumMod val="75000"/>
            </a:schemeClr>
          </a:solidFill>
        </p:spPr>
        <p:txBody>
          <a:bodyPr tIns="576000" anchor="ctr" anchorCtr="0"/>
          <a:lstStyle>
            <a:lvl1pPr marL="0" indent="0" algn="ctr">
              <a:buNone/>
              <a:defRPr sz="1600">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1C7886CF-24AA-69A5-0D9D-3F93B4AAB603}"/>
              </a:ext>
            </a:extLst>
          </p:cNvPr>
          <p:cNvSpPr>
            <a:spLocks noGrp="1"/>
          </p:cNvSpPr>
          <p:nvPr>
            <p:ph type="title" hasCustomPrompt="1"/>
          </p:nvPr>
        </p:nvSpPr>
        <p:spPr>
          <a:xfrm>
            <a:off x="360000" y="295199"/>
            <a:ext cx="4279377" cy="5453139"/>
          </a:xfrm>
          <a:prstGeom prst="roundRect">
            <a:avLst>
              <a:gd name="adj" fmla="val 10275"/>
            </a:avLst>
          </a:prstGeom>
          <a:solidFill>
            <a:srgbClr val="90B9FF"/>
          </a:solidFill>
        </p:spPr>
        <p:txBody>
          <a:bodyPr lIns="252000" tIns="324000" rIns="252000" bIns="1800000"/>
          <a:lstStyle>
            <a:lvl1pPr>
              <a:defRPr>
                <a:solidFill>
                  <a:srgbClr val="002F32"/>
                </a:solidFill>
              </a:defRPr>
            </a:lvl1pPr>
          </a:lstStyle>
          <a:p>
            <a:r>
              <a:rPr lang="en-US" noProof="0"/>
              <a:t>Click to add title</a:t>
            </a:r>
            <a:endParaRPr lang="en-US"/>
          </a:p>
        </p:txBody>
      </p:sp>
      <p:sp>
        <p:nvSpPr>
          <p:cNvPr id="12" name="Text Placeholder 11">
            <a:extLst>
              <a:ext uri="{FF2B5EF4-FFF2-40B4-BE49-F238E27FC236}">
                <a16:creationId xmlns:a16="http://schemas.microsoft.com/office/drawing/2014/main" id="{A42D87D9-1191-BC0B-92D5-7F4B412E44F0}"/>
              </a:ext>
            </a:extLst>
          </p:cNvPr>
          <p:cNvSpPr>
            <a:spLocks noGrp="1"/>
          </p:cNvSpPr>
          <p:nvPr>
            <p:ph type="body" sz="quarter" idx="14" hasCustomPrompt="1"/>
          </p:nvPr>
        </p:nvSpPr>
        <p:spPr>
          <a:xfrm>
            <a:off x="360000" y="2261523"/>
            <a:ext cx="4280400" cy="3486816"/>
          </a:xfrm>
        </p:spPr>
        <p:txBody>
          <a:bodyPr lIns="396000" rIns="396000" bIns="360000"/>
          <a:lstStyle>
            <a:lvl1pPr>
              <a:defRPr>
                <a:solidFill>
                  <a:srgbClr val="002F32"/>
                </a:solidFill>
              </a:defRPr>
            </a:lvl1pPr>
            <a:lvl2pPr>
              <a:defRPr>
                <a:solidFill>
                  <a:srgbClr val="002F32"/>
                </a:solidFill>
              </a:defRPr>
            </a:lvl2pPr>
            <a:lvl3pPr>
              <a:defRPr>
                <a:solidFill>
                  <a:srgbClr val="002F32"/>
                </a:solidFill>
              </a:defRPr>
            </a:lvl3pPr>
            <a:lvl4pPr>
              <a:defRPr>
                <a:solidFill>
                  <a:srgbClr val="002F32"/>
                </a:solidFill>
              </a:defRPr>
            </a:lvl4pPr>
            <a:lvl5pPr>
              <a:defRPr>
                <a:solidFill>
                  <a:srgbClr val="002F32"/>
                </a:solidFill>
              </a:defRPr>
            </a:lvl5pPr>
            <a:lvl6pPr>
              <a:defRPr>
                <a:solidFill>
                  <a:srgbClr val="002F32"/>
                </a:solidFill>
              </a:defRPr>
            </a:lvl6pPr>
            <a:lvl7pPr>
              <a:defRPr>
                <a:solidFill>
                  <a:srgbClr val="002F32"/>
                </a:solidFill>
              </a:defRPr>
            </a:lvl7pPr>
            <a:lvl8pPr>
              <a:defRPr>
                <a:solidFill>
                  <a:srgbClr val="002F32"/>
                </a:solidFill>
              </a:defRPr>
            </a:lvl8pPr>
            <a:lvl9pPr>
              <a:defRPr>
                <a:solidFill>
                  <a:srgbClr val="002F3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a:t>
            </a:r>
            <a:endParaRPr lang="en-US"/>
          </a:p>
        </p:txBody>
      </p:sp>
      <p:sp>
        <p:nvSpPr>
          <p:cNvPr id="10" name="Legal dynamic" descr="{&quot;templafy&quot;:{&quot;id&quot;:&quot;8ac9e27a-6dbd-4c76-afdd-dd2b62ef484d&quot;}}" title="Form.Cigna_Confidentiality.EvernorthConfidentiality">
            <a:extLst>
              <a:ext uri="{FF2B5EF4-FFF2-40B4-BE49-F238E27FC236}">
                <a16:creationId xmlns:a16="http://schemas.microsoft.com/office/drawing/2014/main" id="{4A44FDEE-8EA7-92A6-B9A0-0A2D8A90139F}"/>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1" name="Internal Stamp dynamic" descr="{&quot;templafy&quot;:{&quot;id&quot;:&quot;16459ccd-a1ce-49ab-8d75-ac9143bbd2cd&quot;}}" title="Form.Cigna_Confidentiality.Cigna_confidentiality">
            <a:extLst>
              <a:ext uri="{FF2B5EF4-FFF2-40B4-BE49-F238E27FC236}">
                <a16:creationId xmlns:a16="http://schemas.microsoft.com/office/drawing/2014/main" id="{FAED2556-4223-074A-264C-10716C55E8E6}"/>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6" name="Dynamic logo dark mint" descr="{&quot;templafy&quot;:{&quot;id&quot;:&quot;f9b8a309-486e-4ce8-ac64-1827812cde62&quot;}}">
            <a:extLst>
              <a:ext uri="{FF2B5EF4-FFF2-40B4-BE49-F238E27FC236}">
                <a16:creationId xmlns:a16="http://schemas.microsoft.com/office/drawing/2014/main" id="{404B86D9-A9BF-8042-A52E-A3AB9731B8B4}"/>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4" name="Slide Number Placeholder 3">
            <a:extLst>
              <a:ext uri="{FF2B5EF4-FFF2-40B4-BE49-F238E27FC236}">
                <a16:creationId xmlns:a16="http://schemas.microsoft.com/office/drawing/2014/main" id="{BBF4FFAA-1CAF-A813-F33B-9F5C347BD35F}"/>
              </a:ext>
            </a:extLst>
          </p:cNvPr>
          <p:cNvSpPr>
            <a:spLocks noGrp="1"/>
          </p:cNvSpPr>
          <p:nvPr>
            <p:ph type="sldNum" sz="quarter" idx="11"/>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5" name="Date Placeholder 5">
            <a:extLst>
              <a:ext uri="{FF2B5EF4-FFF2-40B4-BE49-F238E27FC236}">
                <a16:creationId xmlns:a16="http://schemas.microsoft.com/office/drawing/2014/main" id="{B389EC65-9A53-E4B5-875F-7AC94367C80B}"/>
              </a:ext>
            </a:extLst>
          </p:cNvPr>
          <p:cNvSpPr>
            <a:spLocks noGrp="1"/>
          </p:cNvSpPr>
          <p:nvPr>
            <p:ph type="dt" sz="half" idx="15"/>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90577942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 Imag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881F5CDD-8D8C-B560-C6EA-A8DCDA076755}"/>
              </a:ext>
            </a:extLst>
          </p:cNvPr>
          <p:cNvSpPr>
            <a:spLocks noGrp="1"/>
          </p:cNvSpPr>
          <p:nvPr>
            <p:ph type="pic" sz="quarter" idx="13"/>
          </p:nvPr>
        </p:nvSpPr>
        <p:spPr>
          <a:xfrm>
            <a:off x="360000" y="293688"/>
            <a:ext cx="11473200" cy="5454650"/>
          </a:xfrm>
          <a:prstGeom prst="roundRect">
            <a:avLst>
              <a:gd name="adj" fmla="val 8300"/>
            </a:avLst>
          </a:prstGeom>
          <a:solidFill>
            <a:schemeClr val="bg1">
              <a:lumMod val="75000"/>
            </a:schemeClr>
          </a:solidFill>
        </p:spPr>
        <p:txBody>
          <a:bodyPr tIns="576000" anchor="ctr" anchorCtr="0"/>
          <a:lstStyle>
            <a:lvl1pPr marL="0" indent="0" algn="ctr">
              <a:buNone/>
              <a:defRPr sz="1600">
                <a:solidFill>
                  <a:schemeClr val="tx1"/>
                </a:solidFill>
              </a:defRPr>
            </a:lvl1pPr>
          </a:lstStyle>
          <a:p>
            <a:r>
              <a:rPr lang="en-US"/>
              <a:t>Click icon to add picture</a:t>
            </a:r>
          </a:p>
        </p:txBody>
      </p:sp>
      <p:sp>
        <p:nvSpPr>
          <p:cNvPr id="4" name="Slide Number Placeholder 3">
            <a:extLst>
              <a:ext uri="{FF2B5EF4-FFF2-40B4-BE49-F238E27FC236}">
                <a16:creationId xmlns:a16="http://schemas.microsoft.com/office/drawing/2014/main" id="{C527D2EA-1119-944F-F928-4EDB1ECA0E22}"/>
              </a:ext>
            </a:extLst>
          </p:cNvPr>
          <p:cNvSpPr>
            <a:spLocks noGrp="1"/>
          </p:cNvSpPr>
          <p:nvPr>
            <p:ph type="sldNum" sz="quarter" idx="11"/>
          </p:nvPr>
        </p:nvSpPr>
        <p:spPr/>
        <p:txBody>
          <a:bodyPr/>
          <a:lstStyle/>
          <a:p>
            <a:fld id="{23AA811B-2EBD-4900-905E-5BE206449611}" type="slidenum">
              <a:rPr lang="en-US" smtClean="0"/>
              <a:pPr/>
              <a:t>‹#›</a:t>
            </a:fld>
            <a:endParaRPr lang="en-US"/>
          </a:p>
        </p:txBody>
      </p:sp>
      <p:sp>
        <p:nvSpPr>
          <p:cNvPr id="2" name="Date Placeholder 5">
            <a:extLst>
              <a:ext uri="{FF2B5EF4-FFF2-40B4-BE49-F238E27FC236}">
                <a16:creationId xmlns:a16="http://schemas.microsoft.com/office/drawing/2014/main" id="{A40CE7FE-4C07-E0CE-3EBE-204BE7C06668}"/>
              </a:ext>
            </a:extLst>
          </p:cNvPr>
          <p:cNvSpPr>
            <a:spLocks noGrp="1"/>
          </p:cNvSpPr>
          <p:nvPr>
            <p:ph type="dt" sz="half" idx="14"/>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709041402"/>
      </p:ext>
    </p:extLst>
  </p:cSld>
  <p:clrMapOvr>
    <a:masterClrMapping/>
  </p:clrMapOvr>
  <p:extLst>
    <p:ext uri="{DCECCB84-F9BA-43D5-87BE-67443E8EF086}">
      <p15:sldGuideLst xmlns:p15="http://schemas.microsoft.com/office/powerpoint/2012/main">
        <p15:guide id="1" orient="horz" pos="794">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 Image">
    <p:bg>
      <p:bgPr>
        <a:solidFill>
          <a:schemeClr val="accent3"/>
        </a:solidFill>
        <a:effectLst/>
      </p:bgPr>
    </p:bg>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35C590DB-045D-2E87-F71D-3220BCF07761}"/>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5" name="Picture Placeholder 3">
            <a:extLst>
              <a:ext uri="{FF2B5EF4-FFF2-40B4-BE49-F238E27FC236}">
                <a16:creationId xmlns:a16="http://schemas.microsoft.com/office/drawing/2014/main" id="{881F5CDD-8D8C-B560-C6EA-A8DCDA076755}"/>
              </a:ext>
            </a:extLst>
          </p:cNvPr>
          <p:cNvSpPr>
            <a:spLocks noGrp="1"/>
          </p:cNvSpPr>
          <p:nvPr>
            <p:ph type="pic" sz="quarter" idx="13"/>
          </p:nvPr>
        </p:nvSpPr>
        <p:spPr>
          <a:xfrm>
            <a:off x="360000" y="293688"/>
            <a:ext cx="11473200" cy="5454650"/>
          </a:xfrm>
          <a:prstGeom prst="roundRect">
            <a:avLst>
              <a:gd name="adj" fmla="val 8300"/>
            </a:avLst>
          </a:prstGeom>
          <a:solidFill>
            <a:schemeClr val="tx1">
              <a:lumMod val="75000"/>
            </a:schemeClr>
          </a:solidFill>
        </p:spPr>
        <p:txBody>
          <a:bodyPr tIns="576000" anchor="ctr" anchorCtr="0"/>
          <a:lstStyle>
            <a:lvl1pPr marL="0" indent="0" algn="ctr">
              <a:buNone/>
              <a:defRPr sz="1600">
                <a:solidFill>
                  <a:schemeClr val="bg1"/>
                </a:solidFill>
              </a:defRPr>
            </a:lvl1pPr>
          </a:lstStyle>
          <a:p>
            <a:r>
              <a:rPr lang="en-US"/>
              <a:t>Click icon to add picture</a:t>
            </a:r>
          </a:p>
        </p:txBody>
      </p:sp>
      <p:sp>
        <p:nvSpPr>
          <p:cNvPr id="2" name="Legal dynamic" descr="{&quot;templafy&quot;:{&quot;id&quot;:&quot;feae0412-c749-41e7-9579-73a84d23ec91&quot;}}" title="Form.Cigna_Confidentiality.EvernorthConfidentiality">
            <a:extLst>
              <a:ext uri="{FF2B5EF4-FFF2-40B4-BE49-F238E27FC236}">
                <a16:creationId xmlns:a16="http://schemas.microsoft.com/office/drawing/2014/main" id="{9C8C5AAB-FE15-E6D2-AD07-23A685DD6B8D}"/>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a1a890c7-b7a1-4200-abd3-724d23231487&quot;}}" title="Form.Cigna_Confidentiality.Cigna_confidentiality">
            <a:extLst>
              <a:ext uri="{FF2B5EF4-FFF2-40B4-BE49-F238E27FC236}">
                <a16:creationId xmlns:a16="http://schemas.microsoft.com/office/drawing/2014/main" id="{D713A586-3F8E-8014-A3C2-0DC07E74787E}"/>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36d83b97-2765-4341-959c-2bb7cdb881b4&quot;}}">
            <a:extLst>
              <a:ext uri="{FF2B5EF4-FFF2-40B4-BE49-F238E27FC236}">
                <a16:creationId xmlns:a16="http://schemas.microsoft.com/office/drawing/2014/main" id="{570331C5-8C85-0CF5-1982-EF66C98CC0A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4" name="Slide Number Placeholder 3">
            <a:extLst>
              <a:ext uri="{FF2B5EF4-FFF2-40B4-BE49-F238E27FC236}">
                <a16:creationId xmlns:a16="http://schemas.microsoft.com/office/drawing/2014/main" id="{C527D2EA-1119-944F-F928-4EDB1ECA0E22}"/>
              </a:ext>
            </a:extLst>
          </p:cNvPr>
          <p:cNvSpPr>
            <a:spLocks noGrp="1"/>
          </p:cNvSpPr>
          <p:nvPr>
            <p:ph type="sldNum" sz="quarter" idx="11"/>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7" name="Date Placeholder 5">
            <a:extLst>
              <a:ext uri="{FF2B5EF4-FFF2-40B4-BE49-F238E27FC236}">
                <a16:creationId xmlns:a16="http://schemas.microsoft.com/office/drawing/2014/main" id="{EED54377-BE1C-1C3E-3D94-EB462B3B077F}"/>
              </a:ext>
            </a:extLst>
          </p:cNvPr>
          <p:cNvSpPr>
            <a:spLocks noGrp="1"/>
          </p:cNvSpPr>
          <p:nvPr>
            <p:ph type="dt" sz="half" idx="14"/>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1101806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4">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 Image">
    <p:bg>
      <p:bgPr>
        <a:solidFill>
          <a:schemeClr val="accent3"/>
        </a:solidFill>
        <a:effectLst/>
      </p:bgPr>
    </p:bg>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35C590DB-045D-2E87-F71D-3220BCF07761}"/>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08F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5" name="Picture Placeholder 3">
            <a:extLst>
              <a:ext uri="{FF2B5EF4-FFF2-40B4-BE49-F238E27FC236}">
                <a16:creationId xmlns:a16="http://schemas.microsoft.com/office/drawing/2014/main" id="{881F5CDD-8D8C-B560-C6EA-A8DCDA076755}"/>
              </a:ext>
            </a:extLst>
          </p:cNvPr>
          <p:cNvSpPr>
            <a:spLocks noGrp="1"/>
          </p:cNvSpPr>
          <p:nvPr>
            <p:ph type="pic" sz="quarter" idx="13"/>
          </p:nvPr>
        </p:nvSpPr>
        <p:spPr>
          <a:xfrm>
            <a:off x="360000" y="293688"/>
            <a:ext cx="11473200" cy="5454650"/>
          </a:xfrm>
          <a:prstGeom prst="roundRect">
            <a:avLst>
              <a:gd name="adj" fmla="val 8300"/>
            </a:avLst>
          </a:prstGeom>
          <a:solidFill>
            <a:schemeClr val="tx1">
              <a:lumMod val="75000"/>
            </a:schemeClr>
          </a:solidFill>
        </p:spPr>
        <p:txBody>
          <a:bodyPr tIns="576000" anchor="ctr" anchorCtr="0"/>
          <a:lstStyle>
            <a:lvl1pPr marL="0" indent="0" algn="ctr">
              <a:buNone/>
              <a:defRPr sz="1600">
                <a:solidFill>
                  <a:schemeClr val="bg1"/>
                </a:solidFill>
              </a:defRPr>
            </a:lvl1pPr>
          </a:lstStyle>
          <a:p>
            <a:r>
              <a:rPr lang="en-US"/>
              <a:t>Click icon to add picture</a:t>
            </a:r>
          </a:p>
        </p:txBody>
      </p:sp>
      <p:sp>
        <p:nvSpPr>
          <p:cNvPr id="2" name="Legal dynamic" descr="{&quot;templafy&quot;:{&quot;id&quot;:&quot;8370a42a-97d5-4153-b185-780c1874ad11&quot;}}" title="Form.Cigna_Confidentiality.EvernorthConfidentiality">
            <a:extLst>
              <a:ext uri="{FF2B5EF4-FFF2-40B4-BE49-F238E27FC236}">
                <a16:creationId xmlns:a16="http://schemas.microsoft.com/office/drawing/2014/main" id="{9C8C5AAB-FE15-E6D2-AD07-23A685DD6B8D}"/>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02F3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f56b5e55-5af6-4822-9e32-6bdc3098ecf1&quot;}}" title="Form.Cigna_Confidentiality.Cigna_confidentiality">
            <a:extLst>
              <a:ext uri="{FF2B5EF4-FFF2-40B4-BE49-F238E27FC236}">
                <a16:creationId xmlns:a16="http://schemas.microsoft.com/office/drawing/2014/main" id="{D713A586-3F8E-8014-A3C2-0DC07E74787E}"/>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02F32"/>
                </a:solidFill>
                <a:effectLst/>
                <a:latin typeface="Arial Narrow" panose="020B0604020202020204" pitchFamily="34" charset="0"/>
                <a:ea typeface="+mn-ea"/>
                <a:cs typeface="+mn-cs"/>
              </a:rPr>
              <a:t>For internal use only. Use and distribution limited solely to authorized personnel.</a:t>
            </a:r>
          </a:p>
        </p:txBody>
      </p:sp>
      <p:pic>
        <p:nvPicPr>
          <p:cNvPr id="7" name="Dynamic logo hypermint" descr="{&quot;templafy&quot;:{&quot;id&quot;:&quot;b385cc37-40f8-4917-b58e-78e498e4c075&quot;}}">
            <a:extLst>
              <a:ext uri="{FF2B5EF4-FFF2-40B4-BE49-F238E27FC236}">
                <a16:creationId xmlns:a16="http://schemas.microsoft.com/office/drawing/2014/main" id="{D967F7EF-1113-65A9-D7EF-9405D3DBB21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4" name="Slide Number Placeholder 3">
            <a:extLst>
              <a:ext uri="{FF2B5EF4-FFF2-40B4-BE49-F238E27FC236}">
                <a16:creationId xmlns:a16="http://schemas.microsoft.com/office/drawing/2014/main" id="{C527D2EA-1119-944F-F928-4EDB1ECA0E22}"/>
              </a:ext>
            </a:extLst>
          </p:cNvPr>
          <p:cNvSpPr>
            <a:spLocks noGrp="1"/>
          </p:cNvSpPr>
          <p:nvPr>
            <p:ph type="sldNum" sz="quarter" idx="11"/>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8" name="Date Placeholder 5">
            <a:extLst>
              <a:ext uri="{FF2B5EF4-FFF2-40B4-BE49-F238E27FC236}">
                <a16:creationId xmlns:a16="http://schemas.microsoft.com/office/drawing/2014/main" id="{AD2C622F-FB66-22A8-8236-E6536E93911B}"/>
              </a:ext>
            </a:extLst>
          </p:cNvPr>
          <p:cNvSpPr>
            <a:spLocks noGrp="1"/>
          </p:cNvSpPr>
          <p:nvPr>
            <p:ph type="dt" sz="half" idx="14"/>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3610091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4">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 Image">
    <p:bg>
      <p:bgPr>
        <a:solidFill>
          <a:schemeClr val="accent3"/>
        </a:solidFill>
        <a:effectLst/>
      </p:bgPr>
    </p:bg>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35C590DB-045D-2E87-F71D-3220BCF07761}"/>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3EFF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5" name="Picture Placeholder 3">
            <a:extLst>
              <a:ext uri="{FF2B5EF4-FFF2-40B4-BE49-F238E27FC236}">
                <a16:creationId xmlns:a16="http://schemas.microsoft.com/office/drawing/2014/main" id="{881F5CDD-8D8C-B560-C6EA-A8DCDA076755}"/>
              </a:ext>
            </a:extLst>
          </p:cNvPr>
          <p:cNvSpPr>
            <a:spLocks noGrp="1"/>
          </p:cNvSpPr>
          <p:nvPr>
            <p:ph type="pic" sz="quarter" idx="13"/>
          </p:nvPr>
        </p:nvSpPr>
        <p:spPr>
          <a:xfrm>
            <a:off x="360000" y="293688"/>
            <a:ext cx="11473200" cy="5454650"/>
          </a:xfrm>
          <a:prstGeom prst="roundRect">
            <a:avLst>
              <a:gd name="adj" fmla="val 8300"/>
            </a:avLst>
          </a:prstGeom>
          <a:solidFill>
            <a:schemeClr val="tx1">
              <a:lumMod val="75000"/>
            </a:schemeClr>
          </a:solidFill>
        </p:spPr>
        <p:txBody>
          <a:bodyPr tIns="576000" anchor="ctr" anchorCtr="0"/>
          <a:lstStyle>
            <a:lvl1pPr marL="0" indent="0" algn="ctr">
              <a:buNone/>
              <a:defRPr sz="1600">
                <a:solidFill>
                  <a:schemeClr val="bg1"/>
                </a:solidFill>
              </a:defRPr>
            </a:lvl1pPr>
          </a:lstStyle>
          <a:p>
            <a:r>
              <a:rPr lang="en-US"/>
              <a:t>Click icon to add picture</a:t>
            </a:r>
          </a:p>
        </p:txBody>
      </p:sp>
      <p:sp>
        <p:nvSpPr>
          <p:cNvPr id="2" name="Legal dynamic" descr="{&quot;templafy&quot;:{&quot;id&quot;:&quot;5feff912-b298-4c75-8ce4-a46b11f66b4b&quot;}}" title="Form.Cigna_Confidentiality.EvernorthConfidentiality">
            <a:extLst>
              <a:ext uri="{FF2B5EF4-FFF2-40B4-BE49-F238E27FC236}">
                <a16:creationId xmlns:a16="http://schemas.microsoft.com/office/drawing/2014/main" id="{9C8C5AAB-FE15-E6D2-AD07-23A685DD6B8D}"/>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4afe491c-8b2b-47aa-b777-03c6e67ff627&quot;}}" title="Form.Cigna_Confidentiality.Cigna_confidentiality">
            <a:extLst>
              <a:ext uri="{FF2B5EF4-FFF2-40B4-BE49-F238E27FC236}">
                <a16:creationId xmlns:a16="http://schemas.microsoft.com/office/drawing/2014/main" id="{D713A586-3F8E-8014-A3C2-0DC07E74787E}"/>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7" name="Dynamic logo dark mint" descr="{&quot;templafy&quot;:{&quot;id&quot;:&quot;c1a45a65-e3b6-4a6c-8110-db46797f2256&quot;}}">
            <a:extLst>
              <a:ext uri="{FF2B5EF4-FFF2-40B4-BE49-F238E27FC236}">
                <a16:creationId xmlns:a16="http://schemas.microsoft.com/office/drawing/2014/main" id="{29A66013-79D0-72A2-19EB-6913E54B49D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4" name="Slide Number Placeholder 3">
            <a:extLst>
              <a:ext uri="{FF2B5EF4-FFF2-40B4-BE49-F238E27FC236}">
                <a16:creationId xmlns:a16="http://schemas.microsoft.com/office/drawing/2014/main" id="{C527D2EA-1119-944F-F928-4EDB1ECA0E22}"/>
              </a:ext>
            </a:extLst>
          </p:cNvPr>
          <p:cNvSpPr>
            <a:spLocks noGrp="1"/>
          </p:cNvSpPr>
          <p:nvPr>
            <p:ph type="sldNum" sz="quarter" idx="11"/>
          </p:nvPr>
        </p:nvSpPr>
        <p:spPr/>
        <p:txBody>
          <a:bodyPr/>
          <a:lstStyle>
            <a:lvl1pPr>
              <a:defRPr>
                <a:solidFill>
                  <a:srgbClr val="035C67"/>
                </a:solidFill>
              </a:defRPr>
            </a:lvl1pPr>
          </a:lstStyle>
          <a:p>
            <a:fld id="{23AA811B-2EBD-4900-905E-5BE206449611}" type="slidenum">
              <a:rPr lang="en-US" smtClean="0"/>
              <a:pPr/>
              <a:t>‹#›</a:t>
            </a:fld>
            <a:endParaRPr lang="en-US"/>
          </a:p>
        </p:txBody>
      </p:sp>
      <p:sp>
        <p:nvSpPr>
          <p:cNvPr id="8" name="Date Placeholder 5">
            <a:extLst>
              <a:ext uri="{FF2B5EF4-FFF2-40B4-BE49-F238E27FC236}">
                <a16:creationId xmlns:a16="http://schemas.microsoft.com/office/drawing/2014/main" id="{C505CACE-24A5-3C1F-7118-7B6CDA465D36}"/>
              </a:ext>
            </a:extLst>
          </p:cNvPr>
          <p:cNvSpPr>
            <a:spLocks noGrp="1"/>
          </p:cNvSpPr>
          <p:nvPr>
            <p:ph type="dt" sz="half" idx="14"/>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78185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4">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 Image">
    <p:bg>
      <p:bgPr>
        <a:solidFill>
          <a:schemeClr val="accent3"/>
        </a:solidFill>
        <a:effectLst/>
      </p:bgPr>
    </p:bg>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35C590DB-045D-2E87-F71D-3220BCF07761}"/>
              </a:ext>
            </a:extLst>
          </p:cNvPr>
          <p:cNvSpPr>
            <a:spLocks noGrp="1" noRot="1" noMove="1" noResize="1" noEditPoints="1" noAdjustHandles="1" noChangeArrowheads="1" noChangeShapeType="1"/>
          </p:cNvSpPr>
          <p:nvPr userDrawn="1"/>
        </p:nvSpPr>
        <p:spPr bwMode="white">
          <a:xfrm>
            <a:off x="0" y="0"/>
            <a:ext cx="12193200" cy="6861600"/>
          </a:xfrm>
          <a:prstGeom prst="rect">
            <a:avLst/>
          </a:prstGeom>
          <a:solidFill>
            <a:srgbClr val="002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sp>
        <p:nvSpPr>
          <p:cNvPr id="5" name="Picture Placeholder 3">
            <a:extLst>
              <a:ext uri="{FF2B5EF4-FFF2-40B4-BE49-F238E27FC236}">
                <a16:creationId xmlns:a16="http://schemas.microsoft.com/office/drawing/2014/main" id="{881F5CDD-8D8C-B560-C6EA-A8DCDA076755}"/>
              </a:ext>
            </a:extLst>
          </p:cNvPr>
          <p:cNvSpPr>
            <a:spLocks noGrp="1"/>
          </p:cNvSpPr>
          <p:nvPr>
            <p:ph type="pic" sz="quarter" idx="13"/>
          </p:nvPr>
        </p:nvSpPr>
        <p:spPr>
          <a:xfrm>
            <a:off x="360000" y="293688"/>
            <a:ext cx="11473200" cy="5454650"/>
          </a:xfrm>
          <a:prstGeom prst="roundRect">
            <a:avLst>
              <a:gd name="adj" fmla="val 8300"/>
            </a:avLst>
          </a:prstGeom>
          <a:solidFill>
            <a:schemeClr val="tx1">
              <a:lumMod val="75000"/>
            </a:schemeClr>
          </a:solidFill>
        </p:spPr>
        <p:txBody>
          <a:bodyPr tIns="576000" anchor="ctr" anchorCtr="0"/>
          <a:lstStyle>
            <a:lvl1pPr marL="0" indent="0" algn="ctr">
              <a:buNone/>
              <a:defRPr sz="1600">
                <a:solidFill>
                  <a:schemeClr val="bg1"/>
                </a:solidFill>
              </a:defRPr>
            </a:lvl1pPr>
          </a:lstStyle>
          <a:p>
            <a:r>
              <a:rPr lang="en-US"/>
              <a:t>Click icon to add picture</a:t>
            </a:r>
          </a:p>
        </p:txBody>
      </p:sp>
      <p:sp>
        <p:nvSpPr>
          <p:cNvPr id="2" name="Legal dynamic" descr="{&quot;templafy&quot;:{&quot;id&quot;:&quot;0c023daf-4670-44cf-9a49-8ce4251e05fa&quot;}}" title="Form.Cigna_Confidentiality.EvernorthConfidentiality">
            <a:extLst>
              <a:ext uri="{FF2B5EF4-FFF2-40B4-BE49-F238E27FC236}">
                <a16:creationId xmlns:a16="http://schemas.microsoft.com/office/drawing/2014/main" id="{9C8C5AAB-FE15-E6D2-AD07-23A685DD6B8D}"/>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b2474ace-1a55-4f56-ac50-8f9d71cb1fa3&quot;}}" title="Form.Cigna_Confidentiality.Cigna_confidentiality">
            <a:extLst>
              <a:ext uri="{FF2B5EF4-FFF2-40B4-BE49-F238E27FC236}">
                <a16:creationId xmlns:a16="http://schemas.microsoft.com/office/drawing/2014/main" id="{D713A586-3F8E-8014-A3C2-0DC07E74787E}"/>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7" name="Dynamic logo hypermint" descr="{&quot;templafy&quot;:{&quot;id&quot;:&quot;4d7f0ea1-836f-435d-9d95-3b870e764b90&quot;}}">
            <a:extLst>
              <a:ext uri="{FF2B5EF4-FFF2-40B4-BE49-F238E27FC236}">
                <a16:creationId xmlns:a16="http://schemas.microsoft.com/office/drawing/2014/main" id="{AD758976-733C-0B5C-1BBE-402764E0D53E}"/>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4" name="Slide Number Placeholder 3">
            <a:extLst>
              <a:ext uri="{FF2B5EF4-FFF2-40B4-BE49-F238E27FC236}">
                <a16:creationId xmlns:a16="http://schemas.microsoft.com/office/drawing/2014/main" id="{C527D2EA-1119-944F-F928-4EDB1ECA0E22}"/>
              </a:ext>
            </a:extLst>
          </p:cNvPr>
          <p:cNvSpPr>
            <a:spLocks noGrp="1"/>
          </p:cNvSpPr>
          <p:nvPr>
            <p:ph type="sldNum" sz="quarter" idx="11"/>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8" name="Date Placeholder 5">
            <a:extLst>
              <a:ext uri="{FF2B5EF4-FFF2-40B4-BE49-F238E27FC236}">
                <a16:creationId xmlns:a16="http://schemas.microsoft.com/office/drawing/2014/main" id="{F925FC31-7071-2FF6-7FB9-1DDD99083872}"/>
              </a:ext>
            </a:extLst>
          </p:cNvPr>
          <p:cNvSpPr>
            <a:spLocks noGrp="1"/>
          </p:cNvSpPr>
          <p:nvPr>
            <p:ph type="dt" sz="half" idx="14"/>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37620226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4">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 Quot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pic>
        <p:nvPicPr>
          <p:cNvPr id="13" name="Graphic 12">
            <a:extLst>
              <a:ext uri="{FF2B5EF4-FFF2-40B4-BE49-F238E27FC236}">
                <a16:creationId xmlns:a16="http://schemas.microsoft.com/office/drawing/2014/main" id="{9D639805-F1C3-BABE-87F4-5075F6209837}"/>
              </a:ext>
            </a:extLst>
          </p:cNvPr>
          <p:cNvPicPr>
            <a:picLocks noGrp="1" noRot="1" noChangeAspect="1" noMove="1" noResize="1" noEditPoints="1" noAdjustHandles="1" noChangeArrowheads="1" noChangeShapeType="1" noCrop="1"/>
          </p:cNvPicPr>
          <p:nvPr userDrawn="1"/>
        </p:nvPicPr>
        <p:blipFill rotWithShape="1">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t="9517" r="46804" b="9929"/>
          <a:stretch/>
        </p:blipFill>
        <p:spPr>
          <a:xfrm>
            <a:off x="7663129" y="0"/>
            <a:ext cx="4528871" cy="6858000"/>
          </a:xfrm>
          <a:prstGeom prst="rect">
            <a:avLst/>
          </a:prstGeom>
        </p:spPr>
      </p:pic>
      <p:sp>
        <p:nvSpPr>
          <p:cNvPr id="7" name="Text Placeholder 2"/>
          <p:cNvSpPr>
            <a:spLocks noGrp="1"/>
          </p:cNvSpPr>
          <p:nvPr userDrawn="1">
            <p:ph type="body" sz="quarter" idx="13" hasCustomPrompt="1"/>
          </p:nvPr>
        </p:nvSpPr>
        <p:spPr>
          <a:xfrm>
            <a:off x="358776" y="1626668"/>
            <a:ext cx="6616700" cy="412167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accent3"/>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accent4"/>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2" name="Legal dynamic" descr="{&quot;templafy&quot;:{&quot;id&quot;:&quot;e291b341-afa7-4d62-a1e2-3ba7d0702b05&quot;}}" title="Form.Cigna_Confidentiality.EvernorthConfidentiality">
            <a:extLst>
              <a:ext uri="{FF2B5EF4-FFF2-40B4-BE49-F238E27FC236}">
                <a16:creationId xmlns:a16="http://schemas.microsoft.com/office/drawing/2014/main" id="{C5AC1E1C-A5C9-9BAA-955A-997F9A5BCF63}"/>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cbfcc8ca-617a-4e2b-ab59-578a418f65b4&quot;}}" title="Form.Cigna_Confidentiality.Cigna_confidentiality">
            <a:extLst>
              <a:ext uri="{FF2B5EF4-FFF2-40B4-BE49-F238E27FC236}">
                <a16:creationId xmlns:a16="http://schemas.microsoft.com/office/drawing/2014/main" id="{91243659-5596-BA74-1247-0A96F8F04F30}"/>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dark mint" descr="{&quot;templafy&quot;:{&quot;id&quot;:&quot;fdf8884a-1e66-4e61-ad64-3e84925a513c&quot;}}">
            <a:extLst>
              <a:ext uri="{FF2B5EF4-FFF2-40B4-BE49-F238E27FC236}">
                <a16:creationId xmlns:a16="http://schemas.microsoft.com/office/drawing/2014/main" id="{F719C308-43C7-9338-8FCA-A9FA12CABDA5}"/>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4" name="Date Placeholder 5">
            <a:extLst>
              <a:ext uri="{FF2B5EF4-FFF2-40B4-BE49-F238E27FC236}">
                <a16:creationId xmlns:a16="http://schemas.microsoft.com/office/drawing/2014/main" id="{AC8A15FB-957D-7239-C140-8F774CF0FE8E}"/>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5683229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 Quot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rgbClr val="3EFF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pic>
        <p:nvPicPr>
          <p:cNvPr id="13" name="Graphic 12">
            <a:extLst>
              <a:ext uri="{FF2B5EF4-FFF2-40B4-BE49-F238E27FC236}">
                <a16:creationId xmlns:a16="http://schemas.microsoft.com/office/drawing/2014/main" id="{9D639805-F1C3-BABE-87F4-5075F6209837}"/>
              </a:ext>
            </a:extLst>
          </p:cNvPr>
          <p:cNvPicPr>
            <a:picLocks noGrp="1" noRot="1" noChangeAspect="1" noMove="1" noResize="1" noEditPoints="1" noAdjustHandles="1" noChangeArrowheads="1" noChangeShapeType="1" noCrop="1"/>
          </p:cNvPicPr>
          <p:nvPr userDrawn="1"/>
        </p:nvPicPr>
        <p:blipFill rotWithShape="1">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t="9517" r="46804" b="9929"/>
          <a:stretch/>
        </p:blipFill>
        <p:spPr>
          <a:xfrm>
            <a:off x="7663129" y="0"/>
            <a:ext cx="4528871" cy="6858000"/>
          </a:xfrm>
          <a:prstGeom prst="rect">
            <a:avLst/>
          </a:prstGeom>
        </p:spPr>
      </p:pic>
      <p:sp>
        <p:nvSpPr>
          <p:cNvPr id="7" name="Text Placeholder 2"/>
          <p:cNvSpPr>
            <a:spLocks noGrp="1"/>
          </p:cNvSpPr>
          <p:nvPr userDrawn="1">
            <p:ph type="body" sz="quarter" idx="13" hasCustomPrompt="1"/>
          </p:nvPr>
        </p:nvSpPr>
        <p:spPr>
          <a:xfrm>
            <a:off x="358776" y="1626668"/>
            <a:ext cx="6616700" cy="412167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accent3"/>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accent4"/>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4" name="Legal dynamic" descr="{&quot;templafy&quot;:{&quot;id&quot;:&quot;c88e32a9-5b3a-4041-a285-5d686c0ccf21&quot;}}" title="Form.Cigna_Confidentiality.EvernorthConfidentiality">
            <a:extLst>
              <a:ext uri="{FF2B5EF4-FFF2-40B4-BE49-F238E27FC236}">
                <a16:creationId xmlns:a16="http://schemas.microsoft.com/office/drawing/2014/main" id="{7551AE01-EE7C-0BFC-DDDB-F7BD048FCB81}"/>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68b13642-8579-4ccc-91b4-10386b5706e2&quot;}}" title="Form.Cigna_Confidentiality.Cigna_confidentiality">
            <a:extLst>
              <a:ext uri="{FF2B5EF4-FFF2-40B4-BE49-F238E27FC236}">
                <a16:creationId xmlns:a16="http://schemas.microsoft.com/office/drawing/2014/main" id="{81FC5392-C6AA-30C1-C596-4C3C7B220DC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dark mint" descr="{&quot;templafy&quot;:{&quot;id&quot;:&quot;ddb5a119-4171-4b02-85e7-c5c3c5906e91&quot;}}">
            <a:extLst>
              <a:ext uri="{FF2B5EF4-FFF2-40B4-BE49-F238E27FC236}">
                <a16:creationId xmlns:a16="http://schemas.microsoft.com/office/drawing/2014/main" id="{F72098A5-23A4-F4AF-6BD4-D21F6BA403B4}"/>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chemeClr val="bg2"/>
                </a:solidFill>
              </a:defRPr>
            </a:lvl1pPr>
          </a:lstStyle>
          <a:p>
            <a:fld id="{23AA811B-2EBD-4900-905E-5BE206449611}" type="slidenum">
              <a:rPr lang="en-US" smtClean="0"/>
              <a:pPr/>
              <a:t>‹#›</a:t>
            </a:fld>
            <a:endParaRPr lang="en-US"/>
          </a:p>
        </p:txBody>
      </p:sp>
      <p:sp>
        <p:nvSpPr>
          <p:cNvPr id="2" name="Date Placeholder 5">
            <a:extLst>
              <a:ext uri="{FF2B5EF4-FFF2-40B4-BE49-F238E27FC236}">
                <a16:creationId xmlns:a16="http://schemas.microsoft.com/office/drawing/2014/main" id="{6DA79CE6-61F7-A462-2995-C9A92AA180BD}"/>
              </a:ext>
            </a:extLst>
          </p:cNvPr>
          <p:cNvSpPr>
            <a:spLocks noGrp="1"/>
          </p:cNvSpPr>
          <p:nvPr>
            <p:ph type="dt" sz="half" idx="16"/>
          </p:nvPr>
        </p:nvSpPr>
        <p:spPr>
          <a:xfrm>
            <a:off x="10630800" y="6364800"/>
            <a:ext cx="691200" cy="180000"/>
          </a:xfrm>
        </p:spPr>
        <p:txBody>
          <a:bodyPr/>
          <a:lstStyle>
            <a:lvl1pPr>
              <a:defRPr>
                <a:solidFill>
                  <a:schemeClr val="bg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9856763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 Quote">
    <p:bg>
      <p:bgRef idx="1001">
        <a:schemeClr val="bg1"/>
      </p:bgRef>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pic>
        <p:nvPicPr>
          <p:cNvPr id="13" name="Graphic 12">
            <a:extLst>
              <a:ext uri="{FF2B5EF4-FFF2-40B4-BE49-F238E27FC236}">
                <a16:creationId xmlns:a16="http://schemas.microsoft.com/office/drawing/2014/main" id="{9D639805-F1C3-BABE-87F4-5075F6209837}"/>
              </a:ext>
            </a:extLst>
          </p:cNvPr>
          <p:cNvPicPr>
            <a:picLocks noGrp="1" noRot="1" noChangeAspect="1" noMove="1" noResize="1" noEditPoints="1" noAdjustHandles="1" noChangeArrowheads="1" noChangeShapeType="1" noCrop="1"/>
          </p:cNvPicPr>
          <p:nvPr userDrawn="1"/>
        </p:nvPicPr>
        <p:blipFill rotWithShape="1">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t="9517" r="46804" b="9929"/>
          <a:stretch/>
        </p:blipFill>
        <p:spPr>
          <a:xfrm>
            <a:off x="7663129" y="0"/>
            <a:ext cx="4528871" cy="6858000"/>
          </a:xfrm>
          <a:prstGeom prst="rect">
            <a:avLst/>
          </a:prstGeom>
        </p:spPr>
      </p:pic>
      <p:sp>
        <p:nvSpPr>
          <p:cNvPr id="7" name="Text Placeholder 2"/>
          <p:cNvSpPr>
            <a:spLocks noGrp="1"/>
          </p:cNvSpPr>
          <p:nvPr userDrawn="1">
            <p:ph type="body" sz="quarter" idx="13" hasCustomPrompt="1"/>
          </p:nvPr>
        </p:nvSpPr>
        <p:spPr>
          <a:xfrm>
            <a:off x="358776" y="1626668"/>
            <a:ext cx="6616700" cy="412167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tx2"/>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tx2"/>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4" name="Legal dynamic" descr="{&quot;templafy&quot;:{&quot;id&quot;:&quot;651f79f4-ce09-499b-9cd2-7bdfb74f0c2f&quot;}}" title="Form.Cigna_Confidentiality.EvernorthConfidentiality">
            <a:extLst>
              <a:ext uri="{FF2B5EF4-FFF2-40B4-BE49-F238E27FC236}">
                <a16:creationId xmlns:a16="http://schemas.microsoft.com/office/drawing/2014/main" id="{7551AE01-EE7C-0BFC-DDDB-F7BD048FCB81}"/>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83ad93d8-5dcd-4cd2-8d0b-f580b50a4184&quot;}}" title="Form.Cigna_Confidentiality.Cigna_confidentiality">
            <a:extLst>
              <a:ext uri="{FF2B5EF4-FFF2-40B4-BE49-F238E27FC236}">
                <a16:creationId xmlns:a16="http://schemas.microsoft.com/office/drawing/2014/main" id="{81FC5392-C6AA-30C1-C596-4C3C7B220DC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69b9c83c-0cae-4cd4-a5e1-39d48583e097&quot;}}">
            <a:extLst>
              <a:ext uri="{FF2B5EF4-FFF2-40B4-BE49-F238E27FC236}">
                <a16:creationId xmlns:a16="http://schemas.microsoft.com/office/drawing/2014/main" id="{A9BA555F-D344-52C3-909C-695E54333ED3}"/>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chemeClr val="bg2"/>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192B7DD4-9B4F-EF64-E21F-F72D6779ED65}"/>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899364870"/>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Quote">
    <p:bg>
      <p:bgPr>
        <a:solidFill>
          <a:srgbClr val="008F83"/>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rgbClr val="008F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pic>
        <p:nvPicPr>
          <p:cNvPr id="13" name="Graphic 12">
            <a:extLst>
              <a:ext uri="{FF2B5EF4-FFF2-40B4-BE49-F238E27FC236}">
                <a16:creationId xmlns:a16="http://schemas.microsoft.com/office/drawing/2014/main" id="{9D639805-F1C3-BABE-87F4-5075F6209837}"/>
              </a:ext>
            </a:extLst>
          </p:cNvPr>
          <p:cNvPicPr>
            <a:picLocks noGrp="1" noRot="1" noChangeAspect="1" noMove="1" noResize="1" noEditPoints="1" noAdjustHandles="1" noChangeArrowheads="1" noChangeShapeType="1" noCrop="1"/>
          </p:cNvPicPr>
          <p:nvPr userDrawn="1"/>
        </p:nvPicPr>
        <p:blipFill rotWithShape="1">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t="9517" r="46804" b="9929"/>
          <a:stretch/>
        </p:blipFill>
        <p:spPr>
          <a:xfrm>
            <a:off x="7663129" y="0"/>
            <a:ext cx="4528871" cy="6858000"/>
          </a:xfrm>
          <a:prstGeom prst="rect">
            <a:avLst/>
          </a:prstGeom>
        </p:spPr>
      </p:pic>
      <p:sp>
        <p:nvSpPr>
          <p:cNvPr id="7" name="Text Placeholder 2"/>
          <p:cNvSpPr>
            <a:spLocks noGrp="1"/>
          </p:cNvSpPr>
          <p:nvPr userDrawn="1">
            <p:ph type="body" sz="quarter" idx="13" hasCustomPrompt="1"/>
          </p:nvPr>
        </p:nvSpPr>
        <p:spPr>
          <a:xfrm>
            <a:off x="358776" y="1626668"/>
            <a:ext cx="6616700" cy="412167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tx2"/>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tx2"/>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4" name="Legal dynamic" descr="{&quot;templafy&quot;:{&quot;id&quot;:&quot;026aa797-1168-47aa-b2ac-6993453ae789&quot;}}" title="Form.Cigna_Confidentiality.EvernorthConfidentiality">
            <a:extLst>
              <a:ext uri="{FF2B5EF4-FFF2-40B4-BE49-F238E27FC236}">
                <a16:creationId xmlns:a16="http://schemas.microsoft.com/office/drawing/2014/main" id="{7551AE01-EE7C-0BFC-DDDB-F7BD048FCB81}"/>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02F3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53648b7b-9b45-4ddf-93c6-2e167a6cb01a&quot;}}" title="Form.Cigna_Confidentiality.Cigna_confidentiality">
            <a:extLst>
              <a:ext uri="{FF2B5EF4-FFF2-40B4-BE49-F238E27FC236}">
                <a16:creationId xmlns:a16="http://schemas.microsoft.com/office/drawing/2014/main" id="{81FC5392-C6AA-30C1-C596-4C3C7B220DC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02F3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39b6d496-ac23-466a-926d-d7adf2ca48e1&quot;}}">
            <a:extLst>
              <a:ext uri="{FF2B5EF4-FFF2-40B4-BE49-F238E27FC236}">
                <a16:creationId xmlns:a16="http://schemas.microsoft.com/office/drawing/2014/main" id="{024253CE-D1CE-ECC1-D65A-AC16D61B4CE7}"/>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F7B4CE66-951D-3FC1-F82D-7B46EB36E92D}"/>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883497346"/>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 Cover">
    <p:bg bwMode="ltGray">
      <p:bgPr>
        <a:solidFill>
          <a:schemeClr val="tx1"/>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pic>
        <p:nvPicPr>
          <p:cNvPr id="8" name="Picture 7" descr="A person looking at a cell phone&#10;&#10;Description automatically generated">
            <a:extLst>
              <a:ext uri="{FF2B5EF4-FFF2-40B4-BE49-F238E27FC236}">
                <a16:creationId xmlns:a16="http://schemas.microsoft.com/office/drawing/2014/main" id="{FCE1784D-AC37-CB9A-2D85-F1E62342ABBD}"/>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7" name="Graphic">
            <a:extLst>
              <a:ext uri="{FF2B5EF4-FFF2-40B4-BE49-F238E27FC236}">
                <a16:creationId xmlns:a16="http://schemas.microsoft.com/office/drawing/2014/main" id="{2D32B9E0-AECD-F5E4-582D-93E292EB3F0B}"/>
              </a:ext>
            </a:extLst>
          </p:cNvPr>
          <p:cNvSpPr/>
          <p:nvPr userDrawn="1"/>
        </p:nvSpPr>
        <p:spPr>
          <a:xfrm>
            <a:off x="358775" y="358775"/>
            <a:ext cx="11469688" cy="6138000"/>
          </a:xfrm>
          <a:custGeom>
            <a:avLst/>
            <a:gdLst>
              <a:gd name="connsiteX0" fmla="*/ 8117764 w 11469688"/>
              <a:gd name="connsiteY0" fmla="*/ 532822 h 6138000"/>
              <a:gd name="connsiteX1" fmla="*/ 7810298 w 11469688"/>
              <a:gd name="connsiteY1" fmla="*/ 840285 h 6138000"/>
              <a:gd name="connsiteX2" fmla="*/ 7810298 w 11469688"/>
              <a:gd name="connsiteY2" fmla="*/ 1839636 h 6138000"/>
              <a:gd name="connsiteX3" fmla="*/ 7579668 w 11469688"/>
              <a:gd name="connsiteY3" fmla="*/ 2070265 h 6138000"/>
              <a:gd name="connsiteX4" fmla="*/ 6580310 w 11469688"/>
              <a:gd name="connsiteY4" fmla="*/ 2070265 h 6138000"/>
              <a:gd name="connsiteX5" fmla="*/ 6272844 w 11469688"/>
              <a:gd name="connsiteY5" fmla="*/ 2377728 h 6138000"/>
              <a:gd name="connsiteX6" fmla="*/ 6272844 w 11469688"/>
              <a:gd name="connsiteY6" fmla="*/ 3300118 h 6138000"/>
              <a:gd name="connsiteX7" fmla="*/ 6580310 w 11469688"/>
              <a:gd name="connsiteY7" fmla="*/ 3607581 h 6138000"/>
              <a:gd name="connsiteX8" fmla="*/ 7579668 w 11469688"/>
              <a:gd name="connsiteY8" fmla="*/ 3607581 h 6138000"/>
              <a:gd name="connsiteX9" fmla="*/ 7810298 w 11469688"/>
              <a:gd name="connsiteY9" fmla="*/ 3838210 h 6138000"/>
              <a:gd name="connsiteX10" fmla="*/ 7810298 w 11469688"/>
              <a:gd name="connsiteY10" fmla="*/ 4837561 h 6138000"/>
              <a:gd name="connsiteX11" fmla="*/ 8117764 w 11469688"/>
              <a:gd name="connsiteY11" fmla="*/ 5145024 h 6138000"/>
              <a:gd name="connsiteX12" fmla="*/ 9040160 w 11469688"/>
              <a:gd name="connsiteY12" fmla="*/ 5145024 h 6138000"/>
              <a:gd name="connsiteX13" fmla="*/ 9347625 w 11469688"/>
              <a:gd name="connsiteY13" fmla="*/ 4837561 h 6138000"/>
              <a:gd name="connsiteX14" fmla="*/ 9347625 w 11469688"/>
              <a:gd name="connsiteY14" fmla="*/ 3838210 h 6138000"/>
              <a:gd name="connsiteX15" fmla="*/ 9578256 w 11469688"/>
              <a:gd name="connsiteY15" fmla="*/ 3607581 h 6138000"/>
              <a:gd name="connsiteX16" fmla="*/ 10577614 w 11469688"/>
              <a:gd name="connsiteY16" fmla="*/ 3607581 h 6138000"/>
              <a:gd name="connsiteX17" fmla="*/ 10885079 w 11469688"/>
              <a:gd name="connsiteY17" fmla="*/ 3300118 h 6138000"/>
              <a:gd name="connsiteX18" fmla="*/ 10885079 w 11469688"/>
              <a:gd name="connsiteY18" fmla="*/ 2377728 h 6138000"/>
              <a:gd name="connsiteX19" fmla="*/ 10577614 w 11469688"/>
              <a:gd name="connsiteY19" fmla="*/ 2070265 h 6138000"/>
              <a:gd name="connsiteX20" fmla="*/ 9578256 w 11469688"/>
              <a:gd name="connsiteY20" fmla="*/ 2070265 h 6138000"/>
              <a:gd name="connsiteX21" fmla="*/ 9347625 w 11469688"/>
              <a:gd name="connsiteY21" fmla="*/ 1839636 h 6138000"/>
              <a:gd name="connsiteX22" fmla="*/ 9347625 w 11469688"/>
              <a:gd name="connsiteY22" fmla="*/ 840285 h 6138000"/>
              <a:gd name="connsiteX23" fmla="*/ 9040160 w 11469688"/>
              <a:gd name="connsiteY23" fmla="*/ 532822 h 6138000"/>
              <a:gd name="connsiteX24" fmla="*/ 449486 w 11469688"/>
              <a:gd name="connsiteY24" fmla="*/ 0 h 6138000"/>
              <a:gd name="connsiteX25" fmla="*/ 11020202 w 11469688"/>
              <a:gd name="connsiteY25" fmla="*/ 0 h 6138000"/>
              <a:gd name="connsiteX26" fmla="*/ 11469688 w 11469688"/>
              <a:gd name="connsiteY26" fmla="*/ 449486 h 6138000"/>
              <a:gd name="connsiteX27" fmla="*/ 11469688 w 11469688"/>
              <a:gd name="connsiteY27" fmla="*/ 5688514 h 6138000"/>
              <a:gd name="connsiteX28" fmla="*/ 11020202 w 11469688"/>
              <a:gd name="connsiteY28" fmla="*/ 6138000 h 6138000"/>
              <a:gd name="connsiteX29" fmla="*/ 449486 w 11469688"/>
              <a:gd name="connsiteY29" fmla="*/ 6138000 h 6138000"/>
              <a:gd name="connsiteX30" fmla="*/ 0 w 11469688"/>
              <a:gd name="connsiteY30" fmla="*/ 5688514 h 6138000"/>
              <a:gd name="connsiteX31" fmla="*/ 0 w 11469688"/>
              <a:gd name="connsiteY31" fmla="*/ 449486 h 6138000"/>
              <a:gd name="connsiteX32" fmla="*/ 449486 w 11469688"/>
              <a:gd name="connsiteY32" fmla="*/ 0 h 613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469688" h="6138000">
                <a:moveTo>
                  <a:pt x="8117764" y="532822"/>
                </a:moveTo>
                <a:cubicBezTo>
                  <a:pt x="7947966" y="532822"/>
                  <a:pt x="7810298" y="670488"/>
                  <a:pt x="7810298" y="840285"/>
                </a:cubicBezTo>
                <a:lnTo>
                  <a:pt x="7810298" y="1839636"/>
                </a:lnTo>
                <a:cubicBezTo>
                  <a:pt x="7810298" y="1967015"/>
                  <a:pt x="7707048" y="2070265"/>
                  <a:pt x="7579668" y="2070265"/>
                </a:cubicBezTo>
                <a:lnTo>
                  <a:pt x="6580310" y="2070265"/>
                </a:lnTo>
                <a:cubicBezTo>
                  <a:pt x="6410512" y="2070265"/>
                  <a:pt x="6272844" y="2207931"/>
                  <a:pt x="6272844" y="2377728"/>
                </a:cubicBezTo>
                <a:lnTo>
                  <a:pt x="6272844" y="3300118"/>
                </a:lnTo>
                <a:cubicBezTo>
                  <a:pt x="6272844" y="3469915"/>
                  <a:pt x="6410512" y="3607581"/>
                  <a:pt x="6580310" y="3607581"/>
                </a:cubicBezTo>
                <a:lnTo>
                  <a:pt x="7579668" y="3607581"/>
                </a:lnTo>
                <a:cubicBezTo>
                  <a:pt x="7707048" y="3607581"/>
                  <a:pt x="7810298" y="3710831"/>
                  <a:pt x="7810298" y="3838210"/>
                </a:cubicBezTo>
                <a:lnTo>
                  <a:pt x="7810298" y="4837561"/>
                </a:lnTo>
                <a:cubicBezTo>
                  <a:pt x="7810298" y="5007358"/>
                  <a:pt x="7947966" y="5145024"/>
                  <a:pt x="8117764" y="5145024"/>
                </a:cubicBezTo>
                <a:lnTo>
                  <a:pt x="9040160" y="5145024"/>
                </a:lnTo>
                <a:cubicBezTo>
                  <a:pt x="9209958" y="5145024"/>
                  <a:pt x="9347625" y="5007358"/>
                  <a:pt x="9347625" y="4837561"/>
                </a:cubicBezTo>
                <a:lnTo>
                  <a:pt x="9347625" y="3838210"/>
                </a:lnTo>
                <a:cubicBezTo>
                  <a:pt x="9347625" y="3710831"/>
                  <a:pt x="9450876" y="3607581"/>
                  <a:pt x="9578256" y="3607581"/>
                </a:cubicBezTo>
                <a:lnTo>
                  <a:pt x="10577614" y="3607581"/>
                </a:lnTo>
                <a:cubicBezTo>
                  <a:pt x="10747412" y="3607581"/>
                  <a:pt x="10885079" y="3469915"/>
                  <a:pt x="10885079" y="3300118"/>
                </a:cubicBezTo>
                <a:lnTo>
                  <a:pt x="10885079" y="2377728"/>
                </a:lnTo>
                <a:cubicBezTo>
                  <a:pt x="10885079" y="2207931"/>
                  <a:pt x="10747412" y="2070265"/>
                  <a:pt x="10577614" y="2070265"/>
                </a:cubicBezTo>
                <a:lnTo>
                  <a:pt x="9578256" y="2070265"/>
                </a:lnTo>
                <a:cubicBezTo>
                  <a:pt x="9450876" y="2070265"/>
                  <a:pt x="9347625" y="1967015"/>
                  <a:pt x="9347625" y="1839636"/>
                </a:cubicBezTo>
                <a:lnTo>
                  <a:pt x="9347625" y="840285"/>
                </a:lnTo>
                <a:cubicBezTo>
                  <a:pt x="9347625" y="670488"/>
                  <a:pt x="9209958" y="532822"/>
                  <a:pt x="9040160" y="532822"/>
                </a:cubicBezTo>
                <a:close/>
                <a:moveTo>
                  <a:pt x="449486" y="0"/>
                </a:moveTo>
                <a:lnTo>
                  <a:pt x="11020202" y="0"/>
                </a:lnTo>
                <a:cubicBezTo>
                  <a:pt x="11268446" y="0"/>
                  <a:pt x="11469688" y="201242"/>
                  <a:pt x="11469688" y="449486"/>
                </a:cubicBezTo>
                <a:lnTo>
                  <a:pt x="11469688" y="5688514"/>
                </a:lnTo>
                <a:cubicBezTo>
                  <a:pt x="11469688" y="5936758"/>
                  <a:pt x="11268446" y="6138000"/>
                  <a:pt x="11020202" y="6138000"/>
                </a:cubicBezTo>
                <a:lnTo>
                  <a:pt x="449486" y="6138000"/>
                </a:lnTo>
                <a:cubicBezTo>
                  <a:pt x="201242" y="6138000"/>
                  <a:pt x="0" y="5936758"/>
                  <a:pt x="0" y="5688514"/>
                </a:cubicBezTo>
                <a:lnTo>
                  <a:pt x="0" y="449486"/>
                </a:lnTo>
                <a:cubicBezTo>
                  <a:pt x="0" y="201242"/>
                  <a:pt x="201242" y="0"/>
                  <a:pt x="449486" y="0"/>
                </a:cubicBezTo>
                <a:close/>
              </a:path>
            </a:pathLst>
          </a:custGeom>
          <a:solidFill>
            <a:srgbClr val="3EFF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2" name="Title 1"/>
          <p:cNvSpPr>
            <a:spLocks noGrp="1"/>
          </p:cNvSpPr>
          <p:nvPr>
            <p:ph type="ctrTitle" hasCustomPrompt="1"/>
          </p:nvPr>
        </p:nvSpPr>
        <p:spPr bwMode="white">
          <a:xfrm>
            <a:off x="841248" y="1450800"/>
            <a:ext cx="5165852" cy="1820862"/>
          </a:xfrm>
          <a:noFill/>
        </p:spPr>
        <p:txBody>
          <a:bodyPr anchor="b" anchorCtr="0"/>
          <a:lstStyle>
            <a:lvl1pPr algn="l">
              <a:lnSpc>
                <a:spcPct val="85000"/>
              </a:lnSpc>
              <a:defRPr sz="6000" b="0">
                <a:solidFill>
                  <a:srgbClr val="035C67"/>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bwMode="white">
          <a:xfrm>
            <a:off x="841248" y="3654000"/>
            <a:ext cx="5165852" cy="1728000"/>
          </a:xfrm>
        </p:spPr>
        <p:txBody>
          <a:bodyPr/>
          <a:lstStyle>
            <a:lvl1pPr marL="0" indent="0">
              <a:lnSpc>
                <a:spcPct val="105000"/>
              </a:lnSpc>
              <a:buNone/>
              <a:defRPr sz="2200">
                <a:solidFill>
                  <a:srgbClr val="035C67"/>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pic>
        <p:nvPicPr>
          <p:cNvPr id="7" name="Dynamic logo hypermint" descr="{&quot;templafy&quot;:{&quot;id&quot;:&quot;81ac59c4-137f-44ad-bb9c-39d0e726c0d6&quot;}}">
            <a:extLst>
              <a:ext uri="{FF2B5EF4-FFF2-40B4-BE49-F238E27FC236}">
                <a16:creationId xmlns:a16="http://schemas.microsoft.com/office/drawing/2014/main" id="{103DF8DE-5F95-3ACC-CBBF-32E1F9B3C912}"/>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820800" y="5569199"/>
            <a:ext cx="2145868" cy="756094"/>
          </a:xfrm>
          <a:prstGeom prst="rect">
            <a:avLst/>
          </a:prstGeom>
        </p:spPr>
      </p:pic>
      <p:pic>
        <p:nvPicPr>
          <p:cNvPr id="10" name="Dynamic logo dark mint" descr="{&quot;templafy&quot;:{&quot;id&quot;:&quot;08538574-7fa9-4d5c-a1c9-25433f1ffcfe&quot;}}">
            <a:extLst>
              <a:ext uri="{FF2B5EF4-FFF2-40B4-BE49-F238E27FC236}">
                <a16:creationId xmlns:a16="http://schemas.microsoft.com/office/drawing/2014/main" id="{496452E3-FD4E-5898-38DF-2074CC595F7C}"/>
              </a:ext>
            </a:extLst>
          </p:cNvPr>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820800" y="5569199"/>
            <a:ext cx="2145868" cy="756094"/>
          </a:xfrm>
          <a:prstGeom prst="rect">
            <a:avLst/>
          </a:prstGeom>
        </p:spPr>
      </p:pic>
      <p:sp>
        <p:nvSpPr>
          <p:cNvPr id="5" name="Legal dynamic" descr="{&quot;templafy&quot;:{&quot;id&quot;:&quot;1a196a9f-d4dc-4c40-a092-04b17a261ae0&quot;}}" title="Form.Cigna_Confidentiality.EvernorthConfidentiality">
            <a:extLst>
              <a:ext uri="{FF2B5EF4-FFF2-40B4-BE49-F238E27FC236}">
                <a16:creationId xmlns:a16="http://schemas.microsoft.com/office/drawing/2014/main" id="{BE91DE1E-8193-6386-4EDD-D1BDF749FA95}"/>
              </a:ext>
            </a:extLst>
          </p:cNvPr>
          <p:cNvSpPr/>
          <p:nvPr userDrawn="1"/>
        </p:nvSpPr>
        <p:spPr>
          <a:xfrm>
            <a:off x="5430786" y="5903806"/>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13" name="Internal Stamp dynamic" descr="{&quot;templafy&quot;:{&quot;id&quot;:&quot;92d5582c-4098-49c4-b549-016fa0a9cd69&quot;}}" title="Form.Cigna_Confidentiality.Cigna_confidentiality">
            <a:extLst>
              <a:ext uri="{FF2B5EF4-FFF2-40B4-BE49-F238E27FC236}">
                <a16:creationId xmlns:a16="http://schemas.microsoft.com/office/drawing/2014/main" id="{20300AEF-6A52-2F32-2AC7-62EAADAD52E3}"/>
              </a:ext>
            </a:extLst>
          </p:cNvPr>
          <p:cNvSpPr/>
          <p:nvPr userDrawn="1"/>
        </p:nvSpPr>
        <p:spPr>
          <a:xfrm>
            <a:off x="3096000" y="5903806"/>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sp>
        <p:nvSpPr>
          <p:cNvPr id="18" name="Slide Number Placeholder 12">
            <a:extLst>
              <a:ext uri="{FF2B5EF4-FFF2-40B4-BE49-F238E27FC236}">
                <a16:creationId xmlns:a16="http://schemas.microsoft.com/office/drawing/2014/main" id="{6ED4AE1F-D6D1-31DD-A7FF-DCBE5DFDD4CF}"/>
              </a:ext>
            </a:extLst>
          </p:cNvPr>
          <p:cNvSpPr>
            <a:spLocks noGrp="1"/>
          </p:cNvSpPr>
          <p:nvPr>
            <p:ph type="sldNum" sz="quarter" idx="16"/>
          </p:nvPr>
        </p:nvSpPr>
        <p:spPr>
          <a:xfrm>
            <a:off x="11068880" y="6051600"/>
            <a:ext cx="266400" cy="180000"/>
          </a:xfrm>
        </p:spPr>
        <p:txBody>
          <a:bodyPr/>
          <a:lstStyle>
            <a:lvl1pPr>
              <a:defRPr>
                <a:solidFill>
                  <a:srgbClr val="035C67"/>
                </a:solidFill>
              </a:defRPr>
            </a:lvl1pPr>
          </a:lstStyle>
          <a:p>
            <a:fld id="{23AA811B-2EBD-4900-905E-5BE206449611}" type="slidenum">
              <a:rPr lang="en-US" smtClean="0"/>
              <a:pPr/>
              <a:t>‹#›</a:t>
            </a:fld>
            <a:endParaRPr lang="en-US"/>
          </a:p>
        </p:txBody>
      </p:sp>
      <p:sp>
        <p:nvSpPr>
          <p:cNvPr id="3" name="Date Placeholder 2">
            <a:extLst>
              <a:ext uri="{FF2B5EF4-FFF2-40B4-BE49-F238E27FC236}">
                <a16:creationId xmlns:a16="http://schemas.microsoft.com/office/drawing/2014/main" id="{FC2B3A12-3503-7EF0-3905-E554B14A3A11}"/>
              </a:ext>
            </a:extLst>
          </p:cNvPr>
          <p:cNvSpPr>
            <a:spLocks noGrp="1"/>
          </p:cNvSpPr>
          <p:nvPr>
            <p:ph type="dt" sz="half" idx="17"/>
          </p:nvPr>
        </p:nvSpPr>
        <p:spPr>
          <a:xfrm>
            <a:off x="10141200" y="6051600"/>
            <a:ext cx="691200" cy="180000"/>
          </a:xfrm>
        </p:spPr>
        <p:txBody>
          <a:bodyPr/>
          <a:lstStyle>
            <a:lvl1pPr>
              <a:defRPr>
                <a:solidFill>
                  <a:srgbClr val="035C67"/>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7914782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300">
          <p15:clr>
            <a:srgbClr val="F26B43"/>
          </p15:clr>
        </p15:guide>
        <p15:guide id="2" orient="horz" pos="2064">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E. Quot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4" name="Group 3">
            <a:extLst>
              <a:ext uri="{FF2B5EF4-FFF2-40B4-BE49-F238E27FC236}">
                <a16:creationId xmlns:a16="http://schemas.microsoft.com/office/drawing/2014/main" id="{5C8369E5-F6C0-8EFA-219C-0B684F25A265}"/>
              </a:ext>
            </a:extLst>
          </p:cNvPr>
          <p:cNvGrpSpPr>
            <a:grpSpLocks noGrp="1" noUngrp="1" noRot="1" noMove="1" noResize="1"/>
          </p:cNvGrpSpPr>
          <p:nvPr userDrawn="1"/>
        </p:nvGrpSpPr>
        <p:grpSpPr>
          <a:xfrm>
            <a:off x="7651420" y="3014"/>
            <a:ext cx="4540580" cy="6858000"/>
            <a:chOff x="7656945" y="3014"/>
            <a:chExt cx="4540580" cy="6858000"/>
          </a:xfrm>
          <a:gradFill>
            <a:gsLst>
              <a:gs pos="15000">
                <a:schemeClr val="accent1"/>
              </a:gs>
              <a:gs pos="87000">
                <a:schemeClr val="accent3"/>
              </a:gs>
              <a:gs pos="43000">
                <a:srgbClr val="1FC7A2"/>
              </a:gs>
              <a:gs pos="70000">
                <a:schemeClr val="accent2"/>
              </a:gs>
            </a:gsLst>
            <a:lin ang="15600000" scaled="0"/>
          </a:gradFill>
        </p:grpSpPr>
        <p:sp>
          <p:nvSpPr>
            <p:cNvPr id="5" name="Freeform 4">
              <a:extLst>
                <a:ext uri="{FF2B5EF4-FFF2-40B4-BE49-F238E27FC236}">
                  <a16:creationId xmlns:a16="http://schemas.microsoft.com/office/drawing/2014/main" id="{72E91AFC-990F-0E4C-DE58-FCB18F0B9958}"/>
                </a:ext>
              </a:extLst>
            </p:cNvPr>
            <p:cNvSpPr>
              <a:spLocks noGrp="1" noRot="1" noMove="1" noResize="1" noEditPoints="1" noAdjustHandles="1" noChangeArrowheads="1" noChangeShapeType="1"/>
            </p:cNvSpPr>
            <p:nvPr userDrawn="1"/>
          </p:nvSpPr>
          <p:spPr>
            <a:xfrm>
              <a:off x="7656945" y="3014"/>
              <a:ext cx="4535055" cy="4859491"/>
            </a:xfrm>
            <a:custGeom>
              <a:avLst/>
              <a:gdLst>
                <a:gd name="connsiteX0" fmla="*/ 2843841 w 4535055"/>
                <a:gd name="connsiteY0" fmla="*/ 0 h 4859491"/>
                <a:gd name="connsiteX1" fmla="*/ 4535055 w 4535055"/>
                <a:gd name="connsiteY1" fmla="*/ 0 h 4859491"/>
                <a:gd name="connsiteX2" fmla="*/ 4535055 w 4535055"/>
                <a:gd name="connsiteY2" fmla="*/ 2010314 h 4859491"/>
                <a:gd name="connsiteX3" fmla="*/ 3270417 w 4535055"/>
                <a:gd name="connsiteY3" fmla="*/ 2010314 h 4859491"/>
                <a:gd name="connsiteX4" fmla="*/ 2843841 w 4535055"/>
                <a:gd name="connsiteY4" fmla="*/ 2437691 h 4859491"/>
                <a:gd name="connsiteX5" fmla="*/ 2843841 w 4535055"/>
                <a:gd name="connsiteY5" fmla="*/ 4289656 h 4859491"/>
                <a:gd name="connsiteX6" fmla="*/ 2275073 w 4535055"/>
                <a:gd name="connsiteY6" fmla="*/ 4859491 h 4859491"/>
                <a:gd name="connsiteX7" fmla="*/ 568768 w 4535055"/>
                <a:gd name="connsiteY7" fmla="*/ 4859491 h 4859491"/>
                <a:gd name="connsiteX8" fmla="*/ 0 w 4535055"/>
                <a:gd name="connsiteY8" fmla="*/ 4289656 h 4859491"/>
                <a:gd name="connsiteX9" fmla="*/ 0 w 4535055"/>
                <a:gd name="connsiteY9" fmla="*/ 2580150 h 4859491"/>
                <a:gd name="connsiteX10" fmla="*/ 568768 w 4535055"/>
                <a:gd name="connsiteY10" fmla="*/ 2010314 h 4859491"/>
                <a:gd name="connsiteX11" fmla="*/ 2417265 w 4535055"/>
                <a:gd name="connsiteY11" fmla="*/ 2010314 h 4859491"/>
                <a:gd name="connsiteX12" fmla="*/ 2843841 w 4535055"/>
                <a:gd name="connsiteY12" fmla="*/ 1582937 h 4859491"/>
                <a:gd name="connsiteX13" fmla="*/ 2843841 w 4535055"/>
                <a:gd name="connsiteY13" fmla="*/ 0 h 485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5055" h="4859491">
                  <a:moveTo>
                    <a:pt x="2843841" y="0"/>
                  </a:moveTo>
                  <a:lnTo>
                    <a:pt x="4535055" y="0"/>
                  </a:lnTo>
                  <a:lnTo>
                    <a:pt x="4535055" y="2010314"/>
                  </a:lnTo>
                  <a:lnTo>
                    <a:pt x="3270417" y="2010314"/>
                  </a:lnTo>
                  <a:cubicBezTo>
                    <a:pt x="3034733" y="2010314"/>
                    <a:pt x="2843841" y="2201566"/>
                    <a:pt x="2843841" y="2437691"/>
                  </a:cubicBezTo>
                  <a:lnTo>
                    <a:pt x="2843841" y="4289656"/>
                  </a:lnTo>
                  <a:cubicBezTo>
                    <a:pt x="2843841" y="4657201"/>
                    <a:pt x="2526754" y="4859491"/>
                    <a:pt x="2275073" y="4859491"/>
                  </a:cubicBezTo>
                  <a:lnTo>
                    <a:pt x="568768" y="4859491"/>
                  </a:lnTo>
                  <a:cubicBezTo>
                    <a:pt x="254524" y="4859491"/>
                    <a:pt x="0" y="4604490"/>
                    <a:pt x="0" y="4289656"/>
                  </a:cubicBezTo>
                  <a:lnTo>
                    <a:pt x="0" y="2580150"/>
                  </a:lnTo>
                  <a:cubicBezTo>
                    <a:pt x="0" y="2265315"/>
                    <a:pt x="254524" y="2010314"/>
                    <a:pt x="568768" y="2010314"/>
                  </a:cubicBezTo>
                  <a:lnTo>
                    <a:pt x="2417265" y="2010314"/>
                  </a:lnTo>
                  <a:cubicBezTo>
                    <a:pt x="2652948" y="2010314"/>
                    <a:pt x="2843841" y="1819064"/>
                    <a:pt x="2843841" y="1582937"/>
                  </a:cubicBezTo>
                  <a:lnTo>
                    <a:pt x="284384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8" name="Freeform 7">
              <a:extLst>
                <a:ext uri="{FF2B5EF4-FFF2-40B4-BE49-F238E27FC236}">
                  <a16:creationId xmlns:a16="http://schemas.microsoft.com/office/drawing/2014/main" id="{046A4D36-5497-0411-F9C0-B22B008077A3}"/>
                </a:ext>
              </a:extLst>
            </p:cNvPr>
            <p:cNvSpPr>
              <a:spLocks noGrp="1" noRot="1" noMove="1" noResize="1" noEditPoints="1" noAdjustHandles="1" noChangeArrowheads="1" noChangeShapeType="1"/>
            </p:cNvSpPr>
            <p:nvPr userDrawn="1"/>
          </p:nvSpPr>
          <p:spPr>
            <a:xfrm>
              <a:off x="10506313" y="4856155"/>
              <a:ext cx="1691212" cy="2004859"/>
            </a:xfrm>
            <a:custGeom>
              <a:avLst/>
              <a:gdLst>
                <a:gd name="connsiteX0" fmla="*/ 568768 w 1691212"/>
                <a:gd name="connsiteY0" fmla="*/ 0 h 2004859"/>
                <a:gd name="connsiteX1" fmla="*/ 1691212 w 1691212"/>
                <a:gd name="connsiteY1" fmla="*/ 0 h 2004859"/>
                <a:gd name="connsiteX2" fmla="*/ 1691212 w 1691212"/>
                <a:gd name="connsiteY2" fmla="*/ 2004859 h 2004859"/>
                <a:gd name="connsiteX3" fmla="*/ 0 w 1691212"/>
                <a:gd name="connsiteY3" fmla="*/ 2004859 h 2004859"/>
                <a:gd name="connsiteX4" fmla="*/ 0 w 1691212"/>
                <a:gd name="connsiteY4" fmla="*/ 568300 h 2004859"/>
                <a:gd name="connsiteX5" fmla="*/ 568768 w 1691212"/>
                <a:gd name="connsiteY5" fmla="*/ 0 h 200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1212" h="2004859">
                  <a:moveTo>
                    <a:pt x="568768" y="0"/>
                  </a:moveTo>
                  <a:lnTo>
                    <a:pt x="1691212" y="0"/>
                  </a:lnTo>
                  <a:lnTo>
                    <a:pt x="1691212" y="2004859"/>
                  </a:lnTo>
                  <a:lnTo>
                    <a:pt x="0" y="2004859"/>
                  </a:lnTo>
                  <a:lnTo>
                    <a:pt x="0" y="568300"/>
                  </a:lnTo>
                  <a:cubicBezTo>
                    <a:pt x="0" y="254316"/>
                    <a:pt x="254524" y="0"/>
                    <a:pt x="5687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sp>
        <p:nvSpPr>
          <p:cNvPr id="7" name="Text Placeholder 2"/>
          <p:cNvSpPr>
            <a:spLocks noGrp="1"/>
          </p:cNvSpPr>
          <p:nvPr userDrawn="1">
            <p:ph type="body" sz="quarter" idx="13" hasCustomPrompt="1"/>
          </p:nvPr>
        </p:nvSpPr>
        <p:spPr>
          <a:xfrm>
            <a:off x="358776" y="1626668"/>
            <a:ext cx="6616700" cy="412167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accent3"/>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accent4"/>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2" name="Legal dynamic" descr="{&quot;templafy&quot;:{&quot;id&quot;:&quot;8b8f4624-dc86-4e93-898c-99c5307c1d38&quot;}}" title="Form.Cigna_Confidentiality.EvernorthConfidentiality">
            <a:extLst>
              <a:ext uri="{FF2B5EF4-FFF2-40B4-BE49-F238E27FC236}">
                <a16:creationId xmlns:a16="http://schemas.microsoft.com/office/drawing/2014/main" id="{C5AC1E1C-A5C9-9BAA-955A-997F9A5BCF63}"/>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40ffb932-505b-43a9-ba30-0f5a8297a300&quot;}}" title="Form.Cigna_Confidentiality.Cigna_confidentiality">
            <a:extLst>
              <a:ext uri="{FF2B5EF4-FFF2-40B4-BE49-F238E27FC236}">
                <a16:creationId xmlns:a16="http://schemas.microsoft.com/office/drawing/2014/main" id="{91243659-5596-BA74-1247-0A96F8F04F30}"/>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11" name="Dynamic logo dark mint" descr="{&quot;templafy&quot;:{&quot;id&quot;:&quot;404cd6ea-2f7f-49e8-90fd-98a692f9a89e&quot;}}">
            <a:extLst>
              <a:ext uri="{FF2B5EF4-FFF2-40B4-BE49-F238E27FC236}">
                <a16:creationId xmlns:a16="http://schemas.microsoft.com/office/drawing/2014/main" id="{11A1858D-D1C3-C44C-B0BC-E0D618D3B9A0}"/>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AD3A2336-375C-ECC8-6855-F2ED78079377}"/>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1859550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 Quote">
    <p:bg>
      <p:bgRef idx="1001">
        <a:schemeClr val="bg1"/>
      </p:bgRef>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9" name="Group 8">
            <a:extLst>
              <a:ext uri="{FF2B5EF4-FFF2-40B4-BE49-F238E27FC236}">
                <a16:creationId xmlns:a16="http://schemas.microsoft.com/office/drawing/2014/main" id="{2267E848-6517-8984-DE9A-55FD42A0E372}"/>
              </a:ext>
            </a:extLst>
          </p:cNvPr>
          <p:cNvGrpSpPr>
            <a:grpSpLocks noGrp="1" noUngrp="1" noRot="1" noMove="1" noResize="1"/>
          </p:cNvGrpSpPr>
          <p:nvPr userDrawn="1"/>
        </p:nvGrpSpPr>
        <p:grpSpPr>
          <a:xfrm>
            <a:off x="7656945" y="3014"/>
            <a:ext cx="4535055" cy="6861600"/>
            <a:chOff x="7656945" y="3014"/>
            <a:chExt cx="4535055" cy="6858000"/>
          </a:xfrm>
          <a:blipFill dpi="0" rotWithShape="0">
            <a:blip r:embed="rId2"/>
            <a:srcRect/>
            <a:stretch>
              <a:fillRect l="-2000" t="-1000" r="-1000" b="-1000"/>
            </a:stretch>
          </a:blipFill>
        </p:grpSpPr>
        <p:sp>
          <p:nvSpPr>
            <p:cNvPr id="11" name="Freeform 24">
              <a:extLst>
                <a:ext uri="{FF2B5EF4-FFF2-40B4-BE49-F238E27FC236}">
                  <a16:creationId xmlns:a16="http://schemas.microsoft.com/office/drawing/2014/main" id="{2E7B0D4C-49A5-5FF7-6B81-5DA8FE02731C}"/>
                </a:ext>
              </a:extLst>
            </p:cNvPr>
            <p:cNvSpPr>
              <a:spLocks noGrp="1" noRot="1" noMove="1" noResize="1" noEditPoints="1" noAdjustHandles="1" noChangeArrowheads="1" noChangeShapeType="1"/>
            </p:cNvSpPr>
            <p:nvPr userDrawn="1"/>
          </p:nvSpPr>
          <p:spPr>
            <a:xfrm>
              <a:off x="7656945" y="3014"/>
              <a:ext cx="4535055" cy="4859491"/>
            </a:xfrm>
            <a:custGeom>
              <a:avLst/>
              <a:gdLst>
                <a:gd name="connsiteX0" fmla="*/ 2843841 w 4535055"/>
                <a:gd name="connsiteY0" fmla="*/ 0 h 4859491"/>
                <a:gd name="connsiteX1" fmla="*/ 4535055 w 4535055"/>
                <a:gd name="connsiteY1" fmla="*/ 0 h 4859491"/>
                <a:gd name="connsiteX2" fmla="*/ 4535055 w 4535055"/>
                <a:gd name="connsiteY2" fmla="*/ 2010314 h 4859491"/>
                <a:gd name="connsiteX3" fmla="*/ 3270417 w 4535055"/>
                <a:gd name="connsiteY3" fmla="*/ 2010314 h 4859491"/>
                <a:gd name="connsiteX4" fmla="*/ 2843841 w 4535055"/>
                <a:gd name="connsiteY4" fmla="*/ 2437691 h 4859491"/>
                <a:gd name="connsiteX5" fmla="*/ 2843841 w 4535055"/>
                <a:gd name="connsiteY5" fmla="*/ 4289656 h 4859491"/>
                <a:gd name="connsiteX6" fmla="*/ 2275073 w 4535055"/>
                <a:gd name="connsiteY6" fmla="*/ 4859491 h 4859491"/>
                <a:gd name="connsiteX7" fmla="*/ 568768 w 4535055"/>
                <a:gd name="connsiteY7" fmla="*/ 4859491 h 4859491"/>
                <a:gd name="connsiteX8" fmla="*/ 0 w 4535055"/>
                <a:gd name="connsiteY8" fmla="*/ 4289656 h 4859491"/>
                <a:gd name="connsiteX9" fmla="*/ 0 w 4535055"/>
                <a:gd name="connsiteY9" fmla="*/ 2580150 h 4859491"/>
                <a:gd name="connsiteX10" fmla="*/ 568768 w 4535055"/>
                <a:gd name="connsiteY10" fmla="*/ 2010314 h 4859491"/>
                <a:gd name="connsiteX11" fmla="*/ 2417265 w 4535055"/>
                <a:gd name="connsiteY11" fmla="*/ 2010314 h 4859491"/>
                <a:gd name="connsiteX12" fmla="*/ 2843841 w 4535055"/>
                <a:gd name="connsiteY12" fmla="*/ 1582937 h 4859491"/>
                <a:gd name="connsiteX13" fmla="*/ 2843841 w 4535055"/>
                <a:gd name="connsiteY13" fmla="*/ 0 h 485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5055" h="4859491">
                  <a:moveTo>
                    <a:pt x="2843841" y="0"/>
                  </a:moveTo>
                  <a:lnTo>
                    <a:pt x="4535055" y="0"/>
                  </a:lnTo>
                  <a:lnTo>
                    <a:pt x="4535055" y="2010314"/>
                  </a:lnTo>
                  <a:lnTo>
                    <a:pt x="3270417" y="2010314"/>
                  </a:lnTo>
                  <a:cubicBezTo>
                    <a:pt x="3034733" y="2010314"/>
                    <a:pt x="2843841" y="2201566"/>
                    <a:pt x="2843841" y="2437691"/>
                  </a:cubicBezTo>
                  <a:lnTo>
                    <a:pt x="2843841" y="4289656"/>
                  </a:lnTo>
                  <a:cubicBezTo>
                    <a:pt x="2843841" y="4657201"/>
                    <a:pt x="2526754" y="4859491"/>
                    <a:pt x="2275073" y="4859491"/>
                  </a:cubicBezTo>
                  <a:lnTo>
                    <a:pt x="568768" y="4859491"/>
                  </a:lnTo>
                  <a:cubicBezTo>
                    <a:pt x="254524" y="4859491"/>
                    <a:pt x="0" y="4604490"/>
                    <a:pt x="0" y="4289656"/>
                  </a:cubicBezTo>
                  <a:lnTo>
                    <a:pt x="0" y="2580150"/>
                  </a:lnTo>
                  <a:cubicBezTo>
                    <a:pt x="0" y="2265315"/>
                    <a:pt x="254524" y="2010314"/>
                    <a:pt x="568768" y="2010314"/>
                  </a:cubicBezTo>
                  <a:lnTo>
                    <a:pt x="2417265" y="2010314"/>
                  </a:lnTo>
                  <a:cubicBezTo>
                    <a:pt x="2652948" y="2010314"/>
                    <a:pt x="2843841" y="1819064"/>
                    <a:pt x="2843841" y="1582937"/>
                  </a:cubicBezTo>
                  <a:lnTo>
                    <a:pt x="284384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12" name="Freeform 34">
              <a:extLst>
                <a:ext uri="{FF2B5EF4-FFF2-40B4-BE49-F238E27FC236}">
                  <a16:creationId xmlns:a16="http://schemas.microsoft.com/office/drawing/2014/main" id="{1C0EC96D-253A-61A4-6508-353629EC006E}"/>
                </a:ext>
              </a:extLst>
            </p:cNvPr>
            <p:cNvSpPr>
              <a:spLocks noGrp="1" noRot="1" noMove="1" noResize="1" noEditPoints="1" noAdjustHandles="1" noChangeArrowheads="1" noChangeShapeType="1"/>
            </p:cNvSpPr>
            <p:nvPr userDrawn="1"/>
          </p:nvSpPr>
          <p:spPr>
            <a:xfrm>
              <a:off x="10494438" y="4856155"/>
              <a:ext cx="1691212" cy="2004859"/>
            </a:xfrm>
            <a:custGeom>
              <a:avLst/>
              <a:gdLst>
                <a:gd name="connsiteX0" fmla="*/ 568768 w 1691212"/>
                <a:gd name="connsiteY0" fmla="*/ 0 h 2004859"/>
                <a:gd name="connsiteX1" fmla="*/ 1691212 w 1691212"/>
                <a:gd name="connsiteY1" fmla="*/ 0 h 2004859"/>
                <a:gd name="connsiteX2" fmla="*/ 1691212 w 1691212"/>
                <a:gd name="connsiteY2" fmla="*/ 2004859 h 2004859"/>
                <a:gd name="connsiteX3" fmla="*/ 0 w 1691212"/>
                <a:gd name="connsiteY3" fmla="*/ 2004859 h 2004859"/>
                <a:gd name="connsiteX4" fmla="*/ 0 w 1691212"/>
                <a:gd name="connsiteY4" fmla="*/ 568300 h 2004859"/>
                <a:gd name="connsiteX5" fmla="*/ 568768 w 1691212"/>
                <a:gd name="connsiteY5" fmla="*/ 0 h 200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1212" h="2004859">
                  <a:moveTo>
                    <a:pt x="568768" y="0"/>
                  </a:moveTo>
                  <a:lnTo>
                    <a:pt x="1691212" y="0"/>
                  </a:lnTo>
                  <a:lnTo>
                    <a:pt x="1691212" y="2004859"/>
                  </a:lnTo>
                  <a:lnTo>
                    <a:pt x="0" y="2004859"/>
                  </a:lnTo>
                  <a:lnTo>
                    <a:pt x="0" y="568300"/>
                  </a:lnTo>
                  <a:cubicBezTo>
                    <a:pt x="0" y="254316"/>
                    <a:pt x="254524" y="0"/>
                    <a:pt x="5687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sp>
        <p:nvSpPr>
          <p:cNvPr id="7" name="Text Placeholder 2"/>
          <p:cNvSpPr>
            <a:spLocks noGrp="1"/>
          </p:cNvSpPr>
          <p:nvPr userDrawn="1">
            <p:ph type="body" sz="quarter" idx="13" hasCustomPrompt="1"/>
          </p:nvPr>
        </p:nvSpPr>
        <p:spPr>
          <a:xfrm>
            <a:off x="358776" y="1626668"/>
            <a:ext cx="6616700" cy="412167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tx2"/>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tx2"/>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4" name="Legal dynamic" descr="{&quot;templafy&quot;:{&quot;id&quot;:&quot;409cd477-a1df-46c4-9873-22deb3883a0c&quot;}}" title="Form.Cigna_Confidentiality.EvernorthConfidentiality">
            <a:extLst>
              <a:ext uri="{FF2B5EF4-FFF2-40B4-BE49-F238E27FC236}">
                <a16:creationId xmlns:a16="http://schemas.microsoft.com/office/drawing/2014/main" id="{7551AE01-EE7C-0BFC-DDDB-F7BD048FCB81}"/>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f582b345-dc92-4f1a-866f-3803db097bc4&quot;}}" title="Form.Cigna_Confidentiality.Cigna_confidentiality">
            <a:extLst>
              <a:ext uri="{FF2B5EF4-FFF2-40B4-BE49-F238E27FC236}">
                <a16:creationId xmlns:a16="http://schemas.microsoft.com/office/drawing/2014/main" id="{81FC5392-C6AA-30C1-C596-4C3C7B220DC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a467c377-4e7c-49b5-9a14-74c1457b521b&quot;}}">
            <a:extLst>
              <a:ext uri="{FF2B5EF4-FFF2-40B4-BE49-F238E27FC236}">
                <a16:creationId xmlns:a16="http://schemas.microsoft.com/office/drawing/2014/main" id="{A14C8111-A40D-E964-8F4E-9CD66BA04998}"/>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chemeClr val="bg2"/>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0146A4EE-DB3E-5E1D-2650-184AE2DD1617}"/>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547502233"/>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 Quot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4" name="Group 3">
            <a:extLst>
              <a:ext uri="{FF2B5EF4-FFF2-40B4-BE49-F238E27FC236}">
                <a16:creationId xmlns:a16="http://schemas.microsoft.com/office/drawing/2014/main" id="{5C8369E5-F6C0-8EFA-219C-0B684F25A265}"/>
              </a:ext>
            </a:extLst>
          </p:cNvPr>
          <p:cNvGrpSpPr>
            <a:grpSpLocks noGrp="1" noUngrp="1" noRot="1" noMove="1" noResize="1"/>
          </p:cNvGrpSpPr>
          <p:nvPr userDrawn="1"/>
        </p:nvGrpSpPr>
        <p:grpSpPr>
          <a:xfrm>
            <a:off x="7651420" y="3014"/>
            <a:ext cx="4540580" cy="6858000"/>
            <a:chOff x="7656945" y="3014"/>
            <a:chExt cx="4540580" cy="6858000"/>
          </a:xfrm>
          <a:gradFill>
            <a:gsLst>
              <a:gs pos="15000">
                <a:schemeClr val="accent1"/>
              </a:gs>
              <a:gs pos="87000">
                <a:schemeClr val="accent3"/>
              </a:gs>
              <a:gs pos="43000">
                <a:srgbClr val="1FC7A2"/>
              </a:gs>
              <a:gs pos="70000">
                <a:schemeClr val="accent2"/>
              </a:gs>
            </a:gsLst>
            <a:lin ang="15600000" scaled="0"/>
          </a:gradFill>
        </p:grpSpPr>
        <p:sp>
          <p:nvSpPr>
            <p:cNvPr id="5" name="Freeform 4">
              <a:extLst>
                <a:ext uri="{FF2B5EF4-FFF2-40B4-BE49-F238E27FC236}">
                  <a16:creationId xmlns:a16="http://schemas.microsoft.com/office/drawing/2014/main" id="{72E91AFC-990F-0E4C-DE58-FCB18F0B9958}"/>
                </a:ext>
              </a:extLst>
            </p:cNvPr>
            <p:cNvSpPr>
              <a:spLocks noGrp="1" noRot="1" noMove="1" noResize="1" noEditPoints="1" noAdjustHandles="1" noChangeArrowheads="1" noChangeShapeType="1"/>
            </p:cNvSpPr>
            <p:nvPr userDrawn="1"/>
          </p:nvSpPr>
          <p:spPr>
            <a:xfrm>
              <a:off x="7656945" y="3014"/>
              <a:ext cx="4535055" cy="4859491"/>
            </a:xfrm>
            <a:custGeom>
              <a:avLst/>
              <a:gdLst>
                <a:gd name="connsiteX0" fmla="*/ 2843841 w 4535055"/>
                <a:gd name="connsiteY0" fmla="*/ 0 h 4859491"/>
                <a:gd name="connsiteX1" fmla="*/ 4535055 w 4535055"/>
                <a:gd name="connsiteY1" fmla="*/ 0 h 4859491"/>
                <a:gd name="connsiteX2" fmla="*/ 4535055 w 4535055"/>
                <a:gd name="connsiteY2" fmla="*/ 2010314 h 4859491"/>
                <a:gd name="connsiteX3" fmla="*/ 3270417 w 4535055"/>
                <a:gd name="connsiteY3" fmla="*/ 2010314 h 4859491"/>
                <a:gd name="connsiteX4" fmla="*/ 2843841 w 4535055"/>
                <a:gd name="connsiteY4" fmla="*/ 2437691 h 4859491"/>
                <a:gd name="connsiteX5" fmla="*/ 2843841 w 4535055"/>
                <a:gd name="connsiteY5" fmla="*/ 4289656 h 4859491"/>
                <a:gd name="connsiteX6" fmla="*/ 2275073 w 4535055"/>
                <a:gd name="connsiteY6" fmla="*/ 4859491 h 4859491"/>
                <a:gd name="connsiteX7" fmla="*/ 568768 w 4535055"/>
                <a:gd name="connsiteY7" fmla="*/ 4859491 h 4859491"/>
                <a:gd name="connsiteX8" fmla="*/ 0 w 4535055"/>
                <a:gd name="connsiteY8" fmla="*/ 4289656 h 4859491"/>
                <a:gd name="connsiteX9" fmla="*/ 0 w 4535055"/>
                <a:gd name="connsiteY9" fmla="*/ 2580150 h 4859491"/>
                <a:gd name="connsiteX10" fmla="*/ 568768 w 4535055"/>
                <a:gd name="connsiteY10" fmla="*/ 2010314 h 4859491"/>
                <a:gd name="connsiteX11" fmla="*/ 2417265 w 4535055"/>
                <a:gd name="connsiteY11" fmla="*/ 2010314 h 4859491"/>
                <a:gd name="connsiteX12" fmla="*/ 2843841 w 4535055"/>
                <a:gd name="connsiteY12" fmla="*/ 1582937 h 4859491"/>
                <a:gd name="connsiteX13" fmla="*/ 2843841 w 4535055"/>
                <a:gd name="connsiteY13" fmla="*/ 0 h 485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5055" h="4859491">
                  <a:moveTo>
                    <a:pt x="2843841" y="0"/>
                  </a:moveTo>
                  <a:lnTo>
                    <a:pt x="4535055" y="0"/>
                  </a:lnTo>
                  <a:lnTo>
                    <a:pt x="4535055" y="2010314"/>
                  </a:lnTo>
                  <a:lnTo>
                    <a:pt x="3270417" y="2010314"/>
                  </a:lnTo>
                  <a:cubicBezTo>
                    <a:pt x="3034733" y="2010314"/>
                    <a:pt x="2843841" y="2201566"/>
                    <a:pt x="2843841" y="2437691"/>
                  </a:cubicBezTo>
                  <a:lnTo>
                    <a:pt x="2843841" y="4289656"/>
                  </a:lnTo>
                  <a:cubicBezTo>
                    <a:pt x="2843841" y="4657201"/>
                    <a:pt x="2526754" y="4859491"/>
                    <a:pt x="2275073" y="4859491"/>
                  </a:cubicBezTo>
                  <a:lnTo>
                    <a:pt x="568768" y="4859491"/>
                  </a:lnTo>
                  <a:cubicBezTo>
                    <a:pt x="254524" y="4859491"/>
                    <a:pt x="0" y="4604490"/>
                    <a:pt x="0" y="4289656"/>
                  </a:cubicBezTo>
                  <a:lnTo>
                    <a:pt x="0" y="2580150"/>
                  </a:lnTo>
                  <a:cubicBezTo>
                    <a:pt x="0" y="2265315"/>
                    <a:pt x="254524" y="2010314"/>
                    <a:pt x="568768" y="2010314"/>
                  </a:cubicBezTo>
                  <a:lnTo>
                    <a:pt x="2417265" y="2010314"/>
                  </a:lnTo>
                  <a:cubicBezTo>
                    <a:pt x="2652948" y="2010314"/>
                    <a:pt x="2843841" y="1819064"/>
                    <a:pt x="2843841" y="1582937"/>
                  </a:cubicBezTo>
                  <a:lnTo>
                    <a:pt x="284384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8" name="Freeform 7">
              <a:extLst>
                <a:ext uri="{FF2B5EF4-FFF2-40B4-BE49-F238E27FC236}">
                  <a16:creationId xmlns:a16="http://schemas.microsoft.com/office/drawing/2014/main" id="{046A4D36-5497-0411-F9C0-B22B008077A3}"/>
                </a:ext>
              </a:extLst>
            </p:cNvPr>
            <p:cNvSpPr>
              <a:spLocks noGrp="1" noRot="1" noMove="1" noResize="1" noEditPoints="1" noAdjustHandles="1" noChangeArrowheads="1" noChangeShapeType="1"/>
            </p:cNvSpPr>
            <p:nvPr userDrawn="1"/>
          </p:nvSpPr>
          <p:spPr>
            <a:xfrm>
              <a:off x="10506313" y="4856155"/>
              <a:ext cx="1691212" cy="2004859"/>
            </a:xfrm>
            <a:custGeom>
              <a:avLst/>
              <a:gdLst>
                <a:gd name="connsiteX0" fmla="*/ 568768 w 1691212"/>
                <a:gd name="connsiteY0" fmla="*/ 0 h 2004859"/>
                <a:gd name="connsiteX1" fmla="*/ 1691212 w 1691212"/>
                <a:gd name="connsiteY1" fmla="*/ 0 h 2004859"/>
                <a:gd name="connsiteX2" fmla="*/ 1691212 w 1691212"/>
                <a:gd name="connsiteY2" fmla="*/ 2004859 h 2004859"/>
                <a:gd name="connsiteX3" fmla="*/ 0 w 1691212"/>
                <a:gd name="connsiteY3" fmla="*/ 2004859 h 2004859"/>
                <a:gd name="connsiteX4" fmla="*/ 0 w 1691212"/>
                <a:gd name="connsiteY4" fmla="*/ 568300 h 2004859"/>
                <a:gd name="connsiteX5" fmla="*/ 568768 w 1691212"/>
                <a:gd name="connsiteY5" fmla="*/ 0 h 200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1212" h="2004859">
                  <a:moveTo>
                    <a:pt x="568768" y="0"/>
                  </a:moveTo>
                  <a:lnTo>
                    <a:pt x="1691212" y="0"/>
                  </a:lnTo>
                  <a:lnTo>
                    <a:pt x="1691212" y="2004859"/>
                  </a:lnTo>
                  <a:lnTo>
                    <a:pt x="0" y="2004859"/>
                  </a:lnTo>
                  <a:lnTo>
                    <a:pt x="0" y="568300"/>
                  </a:lnTo>
                  <a:cubicBezTo>
                    <a:pt x="0" y="254316"/>
                    <a:pt x="254524" y="0"/>
                    <a:pt x="5687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pic>
        <p:nvPicPr>
          <p:cNvPr id="10" name="Picture 9">
            <a:extLst>
              <a:ext uri="{FF2B5EF4-FFF2-40B4-BE49-F238E27FC236}">
                <a16:creationId xmlns:a16="http://schemas.microsoft.com/office/drawing/2014/main" id="{BAA8D373-458F-CFA1-F827-407DA525A7C3}"/>
              </a:ext>
            </a:extLst>
          </p:cNvPr>
          <p:cNvPicPr>
            <a:picLocks noGrp="1" noRo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3520800" y="128336"/>
            <a:ext cx="7207678" cy="6729664"/>
          </a:xfrm>
          <a:prstGeom prst="rect">
            <a:avLst/>
          </a:prstGeom>
        </p:spPr>
      </p:pic>
      <p:sp>
        <p:nvSpPr>
          <p:cNvPr id="7" name="Text Placeholder 2"/>
          <p:cNvSpPr>
            <a:spLocks noGrp="1"/>
          </p:cNvSpPr>
          <p:nvPr userDrawn="1">
            <p:ph type="body" sz="quarter" idx="13" hasCustomPrompt="1"/>
          </p:nvPr>
        </p:nvSpPr>
        <p:spPr>
          <a:xfrm>
            <a:off x="358776" y="1626668"/>
            <a:ext cx="4676774" cy="412167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accent3"/>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accent4"/>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2" name="Legal dynamic" descr="{&quot;templafy&quot;:{&quot;id&quot;:&quot;401a7192-8063-4513-8b1e-6c6bf6d24f87&quot;}}" title="Form.Cigna_Confidentiality.EvernorthConfidentiality">
            <a:extLst>
              <a:ext uri="{FF2B5EF4-FFF2-40B4-BE49-F238E27FC236}">
                <a16:creationId xmlns:a16="http://schemas.microsoft.com/office/drawing/2014/main" id="{C5AC1E1C-A5C9-9BAA-955A-997F9A5BCF63}"/>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bg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pic>
        <p:nvPicPr>
          <p:cNvPr id="11" name="Dynamic logo dark mint" descr="{&quot;templafy&quot;:{&quot;id&quot;:&quot;65c3b18a-a772-46b7-8199-82e5630fb78e&quot;}}">
            <a:extLst>
              <a:ext uri="{FF2B5EF4-FFF2-40B4-BE49-F238E27FC236}">
                <a16:creationId xmlns:a16="http://schemas.microsoft.com/office/drawing/2014/main" id="{D491A171-90D6-BD9B-BC75-3D25C0F35227}"/>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3" name="Internal Stamp dynamic" descr="{&quot;templafy&quot;:{&quot;id&quot;:&quot;e26ebfe3-1046-4836-bb7b-845c13ec4955&quot;}}" title="Form.Cigna_Confidentiality.Cigna_confidentiality">
            <a:extLst>
              <a:ext uri="{FF2B5EF4-FFF2-40B4-BE49-F238E27FC236}">
                <a16:creationId xmlns:a16="http://schemas.microsoft.com/office/drawing/2014/main" id="{341BEF96-DC88-2A65-CFC1-56FEF22DDF49}"/>
              </a:ext>
            </a:extLst>
          </p:cNvPr>
          <p:cNvSpPr/>
          <p:nvPr userDrawn="1"/>
        </p:nvSpPr>
        <p:spPr>
          <a:xfrm>
            <a:off x="2844000" y="6216565"/>
            <a:ext cx="140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accent3"/>
                </a:solidFill>
                <a:effectLst/>
                <a:latin typeface="Arial Narrow" panose="020B0604020202020204" pitchFamily="34" charset="0"/>
                <a:ea typeface="+mn-ea"/>
                <a:cs typeface="+mn-cs"/>
              </a:rPr>
              <a:t>For internal use only. Use and distribution limited solely to authorized personnel.</a:t>
            </a:r>
          </a:p>
        </p:txBody>
      </p:sp>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9" name="Date Placeholder 5">
            <a:extLst>
              <a:ext uri="{FF2B5EF4-FFF2-40B4-BE49-F238E27FC236}">
                <a16:creationId xmlns:a16="http://schemas.microsoft.com/office/drawing/2014/main" id="{A1A16286-3EC8-720B-D1E4-C0B6EBD6549C}"/>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3453873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 Quote">
    <p:bg>
      <p:bgRef idx="1001">
        <a:schemeClr val="bg1"/>
      </p:bgRef>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9" name="Group 8">
            <a:extLst>
              <a:ext uri="{FF2B5EF4-FFF2-40B4-BE49-F238E27FC236}">
                <a16:creationId xmlns:a16="http://schemas.microsoft.com/office/drawing/2014/main" id="{2267E848-6517-8984-DE9A-55FD42A0E372}"/>
              </a:ext>
            </a:extLst>
          </p:cNvPr>
          <p:cNvGrpSpPr>
            <a:grpSpLocks noGrp="1" noUngrp="1" noRot="1" noMove="1" noResize="1"/>
          </p:cNvGrpSpPr>
          <p:nvPr userDrawn="1"/>
        </p:nvGrpSpPr>
        <p:grpSpPr>
          <a:xfrm>
            <a:off x="7656945" y="3014"/>
            <a:ext cx="4535055" cy="6861600"/>
            <a:chOff x="7656945" y="3014"/>
            <a:chExt cx="4535055" cy="6858000"/>
          </a:xfrm>
          <a:blipFill dpi="0" rotWithShape="0">
            <a:blip r:embed="rId2"/>
            <a:srcRect/>
            <a:stretch>
              <a:fillRect l="-2000" t="-1000" r="-1000" b="-1000"/>
            </a:stretch>
          </a:blipFill>
        </p:grpSpPr>
        <p:sp>
          <p:nvSpPr>
            <p:cNvPr id="11" name="Freeform 24">
              <a:extLst>
                <a:ext uri="{FF2B5EF4-FFF2-40B4-BE49-F238E27FC236}">
                  <a16:creationId xmlns:a16="http://schemas.microsoft.com/office/drawing/2014/main" id="{2E7B0D4C-49A5-5FF7-6B81-5DA8FE02731C}"/>
                </a:ext>
              </a:extLst>
            </p:cNvPr>
            <p:cNvSpPr>
              <a:spLocks noGrp="1" noRot="1" noMove="1" noResize="1" noEditPoints="1" noAdjustHandles="1" noChangeArrowheads="1" noChangeShapeType="1"/>
            </p:cNvSpPr>
            <p:nvPr userDrawn="1"/>
          </p:nvSpPr>
          <p:spPr>
            <a:xfrm>
              <a:off x="7656945" y="3014"/>
              <a:ext cx="4535055" cy="4859491"/>
            </a:xfrm>
            <a:custGeom>
              <a:avLst/>
              <a:gdLst>
                <a:gd name="connsiteX0" fmla="*/ 2843841 w 4535055"/>
                <a:gd name="connsiteY0" fmla="*/ 0 h 4859491"/>
                <a:gd name="connsiteX1" fmla="*/ 4535055 w 4535055"/>
                <a:gd name="connsiteY1" fmla="*/ 0 h 4859491"/>
                <a:gd name="connsiteX2" fmla="*/ 4535055 w 4535055"/>
                <a:gd name="connsiteY2" fmla="*/ 2010314 h 4859491"/>
                <a:gd name="connsiteX3" fmla="*/ 3270417 w 4535055"/>
                <a:gd name="connsiteY3" fmla="*/ 2010314 h 4859491"/>
                <a:gd name="connsiteX4" fmla="*/ 2843841 w 4535055"/>
                <a:gd name="connsiteY4" fmla="*/ 2437691 h 4859491"/>
                <a:gd name="connsiteX5" fmla="*/ 2843841 w 4535055"/>
                <a:gd name="connsiteY5" fmla="*/ 4289656 h 4859491"/>
                <a:gd name="connsiteX6" fmla="*/ 2275073 w 4535055"/>
                <a:gd name="connsiteY6" fmla="*/ 4859491 h 4859491"/>
                <a:gd name="connsiteX7" fmla="*/ 568768 w 4535055"/>
                <a:gd name="connsiteY7" fmla="*/ 4859491 h 4859491"/>
                <a:gd name="connsiteX8" fmla="*/ 0 w 4535055"/>
                <a:gd name="connsiteY8" fmla="*/ 4289656 h 4859491"/>
                <a:gd name="connsiteX9" fmla="*/ 0 w 4535055"/>
                <a:gd name="connsiteY9" fmla="*/ 2580150 h 4859491"/>
                <a:gd name="connsiteX10" fmla="*/ 568768 w 4535055"/>
                <a:gd name="connsiteY10" fmla="*/ 2010314 h 4859491"/>
                <a:gd name="connsiteX11" fmla="*/ 2417265 w 4535055"/>
                <a:gd name="connsiteY11" fmla="*/ 2010314 h 4859491"/>
                <a:gd name="connsiteX12" fmla="*/ 2843841 w 4535055"/>
                <a:gd name="connsiteY12" fmla="*/ 1582937 h 4859491"/>
                <a:gd name="connsiteX13" fmla="*/ 2843841 w 4535055"/>
                <a:gd name="connsiteY13" fmla="*/ 0 h 485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5055" h="4859491">
                  <a:moveTo>
                    <a:pt x="2843841" y="0"/>
                  </a:moveTo>
                  <a:lnTo>
                    <a:pt x="4535055" y="0"/>
                  </a:lnTo>
                  <a:lnTo>
                    <a:pt x="4535055" y="2010314"/>
                  </a:lnTo>
                  <a:lnTo>
                    <a:pt x="3270417" y="2010314"/>
                  </a:lnTo>
                  <a:cubicBezTo>
                    <a:pt x="3034733" y="2010314"/>
                    <a:pt x="2843841" y="2201566"/>
                    <a:pt x="2843841" y="2437691"/>
                  </a:cubicBezTo>
                  <a:lnTo>
                    <a:pt x="2843841" y="4289656"/>
                  </a:lnTo>
                  <a:cubicBezTo>
                    <a:pt x="2843841" y="4657201"/>
                    <a:pt x="2526754" y="4859491"/>
                    <a:pt x="2275073" y="4859491"/>
                  </a:cubicBezTo>
                  <a:lnTo>
                    <a:pt x="568768" y="4859491"/>
                  </a:lnTo>
                  <a:cubicBezTo>
                    <a:pt x="254524" y="4859491"/>
                    <a:pt x="0" y="4604490"/>
                    <a:pt x="0" y="4289656"/>
                  </a:cubicBezTo>
                  <a:lnTo>
                    <a:pt x="0" y="2580150"/>
                  </a:lnTo>
                  <a:cubicBezTo>
                    <a:pt x="0" y="2265315"/>
                    <a:pt x="254524" y="2010314"/>
                    <a:pt x="568768" y="2010314"/>
                  </a:cubicBezTo>
                  <a:lnTo>
                    <a:pt x="2417265" y="2010314"/>
                  </a:lnTo>
                  <a:cubicBezTo>
                    <a:pt x="2652948" y="2010314"/>
                    <a:pt x="2843841" y="1819064"/>
                    <a:pt x="2843841" y="1582937"/>
                  </a:cubicBezTo>
                  <a:lnTo>
                    <a:pt x="284384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12" name="Freeform 34">
              <a:extLst>
                <a:ext uri="{FF2B5EF4-FFF2-40B4-BE49-F238E27FC236}">
                  <a16:creationId xmlns:a16="http://schemas.microsoft.com/office/drawing/2014/main" id="{1C0EC96D-253A-61A4-6508-353629EC006E}"/>
                </a:ext>
              </a:extLst>
            </p:cNvPr>
            <p:cNvSpPr>
              <a:spLocks noGrp="1" noRot="1" noMove="1" noResize="1" noEditPoints="1" noAdjustHandles="1" noChangeArrowheads="1" noChangeShapeType="1"/>
            </p:cNvSpPr>
            <p:nvPr userDrawn="1"/>
          </p:nvSpPr>
          <p:spPr>
            <a:xfrm>
              <a:off x="10494438" y="4856155"/>
              <a:ext cx="1691212" cy="2004859"/>
            </a:xfrm>
            <a:custGeom>
              <a:avLst/>
              <a:gdLst>
                <a:gd name="connsiteX0" fmla="*/ 568768 w 1691212"/>
                <a:gd name="connsiteY0" fmla="*/ 0 h 2004859"/>
                <a:gd name="connsiteX1" fmla="*/ 1691212 w 1691212"/>
                <a:gd name="connsiteY1" fmla="*/ 0 h 2004859"/>
                <a:gd name="connsiteX2" fmla="*/ 1691212 w 1691212"/>
                <a:gd name="connsiteY2" fmla="*/ 2004859 h 2004859"/>
                <a:gd name="connsiteX3" fmla="*/ 0 w 1691212"/>
                <a:gd name="connsiteY3" fmla="*/ 2004859 h 2004859"/>
                <a:gd name="connsiteX4" fmla="*/ 0 w 1691212"/>
                <a:gd name="connsiteY4" fmla="*/ 568300 h 2004859"/>
                <a:gd name="connsiteX5" fmla="*/ 568768 w 1691212"/>
                <a:gd name="connsiteY5" fmla="*/ 0 h 200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1212" h="2004859">
                  <a:moveTo>
                    <a:pt x="568768" y="0"/>
                  </a:moveTo>
                  <a:lnTo>
                    <a:pt x="1691212" y="0"/>
                  </a:lnTo>
                  <a:lnTo>
                    <a:pt x="1691212" y="2004859"/>
                  </a:lnTo>
                  <a:lnTo>
                    <a:pt x="0" y="2004859"/>
                  </a:lnTo>
                  <a:lnTo>
                    <a:pt x="0" y="568300"/>
                  </a:lnTo>
                  <a:cubicBezTo>
                    <a:pt x="0" y="254316"/>
                    <a:pt x="254524" y="0"/>
                    <a:pt x="56876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pic>
        <p:nvPicPr>
          <p:cNvPr id="8" name="Picture 7">
            <a:extLst>
              <a:ext uri="{FF2B5EF4-FFF2-40B4-BE49-F238E27FC236}">
                <a16:creationId xmlns:a16="http://schemas.microsoft.com/office/drawing/2014/main" id="{E06D2278-26FB-DA3C-F16B-839DC42424FF}"/>
              </a:ext>
            </a:extLst>
          </p:cNvPr>
          <p:cNvPicPr>
            <a:picLocks noGrp="1" noRot="1" noMove="1" noResize="1" noEditPoints="1" noAdjustHandles="1" noChangeArrowheads="1" noChangeShapeType="1" noCrop="1"/>
          </p:cNvPicPr>
          <p:nvPr userDrawn="1"/>
        </p:nvPicPr>
        <p:blipFill>
          <a:blip r:embed="rId3" cstate="email">
            <a:extLst>
              <a:ext uri="{28A0092B-C50C-407E-A947-70E740481C1C}">
                <a14:useLocalDpi xmlns:a14="http://schemas.microsoft.com/office/drawing/2010/main"/>
              </a:ext>
            </a:extLst>
          </a:blip>
          <a:srcRect/>
          <a:stretch/>
        </p:blipFill>
        <p:spPr>
          <a:xfrm>
            <a:off x="3520800" y="128336"/>
            <a:ext cx="7207678" cy="6729664"/>
          </a:xfrm>
          <a:prstGeom prst="rect">
            <a:avLst/>
          </a:prstGeom>
        </p:spPr>
      </p:pic>
      <p:sp>
        <p:nvSpPr>
          <p:cNvPr id="7" name="Text Placeholder 2"/>
          <p:cNvSpPr>
            <a:spLocks noGrp="1"/>
          </p:cNvSpPr>
          <p:nvPr userDrawn="1">
            <p:ph type="body" sz="quarter" idx="13" hasCustomPrompt="1"/>
          </p:nvPr>
        </p:nvSpPr>
        <p:spPr>
          <a:xfrm>
            <a:off x="358776" y="1626668"/>
            <a:ext cx="4676774" cy="412167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tx2"/>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tx2"/>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4" name="Legal dynamic" descr="{&quot;templafy&quot;:{&quot;id&quot;:&quot;93f4085d-54a8-44b9-bc4d-d293ccdac21c&quot;}}" title="Form.Cigna_Confidentiality.EvernorthConfidentiality">
            <a:extLst>
              <a:ext uri="{FF2B5EF4-FFF2-40B4-BE49-F238E27FC236}">
                <a16:creationId xmlns:a16="http://schemas.microsoft.com/office/drawing/2014/main" id="{7551AE01-EE7C-0BFC-DDDB-F7BD048FCB81}"/>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pic>
        <p:nvPicPr>
          <p:cNvPr id="5" name="Dynamic logo hypermint" descr="{&quot;templafy&quot;:{&quot;id&quot;:&quot;44f10c86-88a2-418d-b54b-cbddc918c5a4&quot;}}">
            <a:extLst>
              <a:ext uri="{FF2B5EF4-FFF2-40B4-BE49-F238E27FC236}">
                <a16:creationId xmlns:a16="http://schemas.microsoft.com/office/drawing/2014/main" id="{A2316779-CA1F-441C-32E9-EE399ACC96ED}"/>
              </a:ext>
            </a:extLst>
          </p:cNvPr>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6" name="Internal Stamp dynamic" descr="{&quot;templafy&quot;:{&quot;id&quot;:&quot;8a11c025-c7f8-4010-995b-489689fb6986&quot;}}" title="Form.Cigna_Confidentiality.Cigna_confidentiality">
            <a:extLst>
              <a:ext uri="{FF2B5EF4-FFF2-40B4-BE49-F238E27FC236}">
                <a16:creationId xmlns:a16="http://schemas.microsoft.com/office/drawing/2014/main" id="{5539DD72-0787-7F7E-33C2-100A5A490F0D}"/>
              </a:ext>
            </a:extLst>
          </p:cNvPr>
          <p:cNvSpPr/>
          <p:nvPr userDrawn="1"/>
        </p:nvSpPr>
        <p:spPr>
          <a:xfrm>
            <a:off x="2844000" y="6216565"/>
            <a:ext cx="140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chemeClr val="bg2"/>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408D07ED-D65C-26F6-40E1-9266152F4C75}"/>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3230578706"/>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 Quot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101" name="Group 100">
            <a:extLst>
              <a:ext uri="{FF2B5EF4-FFF2-40B4-BE49-F238E27FC236}">
                <a16:creationId xmlns:a16="http://schemas.microsoft.com/office/drawing/2014/main" id="{16FBE6C0-BD2D-BD7F-2DBE-DB3A6B92DB2E}"/>
              </a:ext>
            </a:extLst>
          </p:cNvPr>
          <p:cNvGrpSpPr>
            <a:grpSpLocks noGrp="1" noUngrp="1" noRot="1" noMove="1" noResize="1"/>
          </p:cNvGrpSpPr>
          <p:nvPr userDrawn="1"/>
        </p:nvGrpSpPr>
        <p:grpSpPr>
          <a:xfrm>
            <a:off x="3538575" y="4314726"/>
            <a:ext cx="8681999" cy="2543274"/>
            <a:chOff x="3538575" y="4314726"/>
            <a:chExt cx="8681999" cy="2543274"/>
          </a:xfrm>
        </p:grpSpPr>
        <p:sp>
          <p:nvSpPr>
            <p:cNvPr id="102" name="Freeform: Shape 101">
              <a:extLst>
                <a:ext uri="{FF2B5EF4-FFF2-40B4-BE49-F238E27FC236}">
                  <a16:creationId xmlns:a16="http://schemas.microsoft.com/office/drawing/2014/main" id="{8BBE020D-836B-CCDD-1FA1-172AC9310FE5}"/>
                </a:ext>
              </a:extLst>
            </p:cNvPr>
            <p:cNvSpPr>
              <a:spLocks noGrp="1" noRot="1" noMove="1" noResize="1" noEditPoints="1" noAdjustHandles="1" noChangeArrowheads="1" noChangeShapeType="1"/>
            </p:cNvSpPr>
            <p:nvPr userDrawn="1"/>
          </p:nvSpPr>
          <p:spPr>
            <a:xfrm>
              <a:off x="9086175" y="4314726"/>
              <a:ext cx="3134399" cy="2543274"/>
            </a:xfrm>
            <a:custGeom>
              <a:avLst/>
              <a:gdLst>
                <a:gd name="connsiteX0" fmla="*/ 1914660 w 3134399"/>
                <a:gd name="connsiteY0" fmla="*/ 0 h 2543274"/>
                <a:gd name="connsiteX1" fmla="*/ 2871990 w 3134399"/>
                <a:gd name="connsiteY1" fmla="*/ 0 h 2543274"/>
                <a:gd name="connsiteX2" fmla="*/ 3118253 w 3134399"/>
                <a:gd name="connsiteY2" fmla="*/ 116098 h 2543274"/>
                <a:gd name="connsiteX3" fmla="*/ 3134399 w 3134399"/>
                <a:gd name="connsiteY3" fmla="*/ 142718 h 2543274"/>
                <a:gd name="connsiteX4" fmla="*/ 3134399 w 3134399"/>
                <a:gd name="connsiteY4" fmla="*/ 2543274 h 2543274"/>
                <a:gd name="connsiteX5" fmla="*/ 0 w 3134399"/>
                <a:gd name="connsiteY5" fmla="*/ 2543274 h 2543274"/>
                <a:gd name="connsiteX6" fmla="*/ 0 w 3134399"/>
                <a:gd name="connsiteY6" fmla="*/ 1914659 h 2543274"/>
                <a:gd name="connsiteX7" fmla="*/ 319110 w 3134399"/>
                <a:gd name="connsiteY7" fmla="*/ 1595549 h 2543274"/>
                <a:gd name="connsiteX8" fmla="*/ 1356217 w 3134399"/>
                <a:gd name="connsiteY8" fmla="*/ 1595549 h 2543274"/>
                <a:gd name="connsiteX9" fmla="*/ 1595550 w 3134399"/>
                <a:gd name="connsiteY9" fmla="*/ 1356217 h 2543274"/>
                <a:gd name="connsiteX10" fmla="*/ 1595550 w 3134399"/>
                <a:gd name="connsiteY10" fmla="*/ 319110 h 2543274"/>
                <a:gd name="connsiteX11" fmla="*/ 1914660 w 3134399"/>
                <a:gd name="connsiteY11"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4399" h="2543274">
                  <a:moveTo>
                    <a:pt x="1914660" y="0"/>
                  </a:moveTo>
                  <a:lnTo>
                    <a:pt x="2871990" y="0"/>
                  </a:lnTo>
                  <a:cubicBezTo>
                    <a:pt x="2971163" y="0"/>
                    <a:pt x="3059735" y="45184"/>
                    <a:pt x="3118253" y="116098"/>
                  </a:cubicBezTo>
                  <a:lnTo>
                    <a:pt x="3134399" y="142718"/>
                  </a:lnTo>
                  <a:lnTo>
                    <a:pt x="313439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rgbClr val="008F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103" name="Freeform 17">
              <a:extLst>
                <a:ext uri="{FF2B5EF4-FFF2-40B4-BE49-F238E27FC236}">
                  <a16:creationId xmlns:a16="http://schemas.microsoft.com/office/drawing/2014/main" id="{837FD1D7-BDBA-8046-DF34-9A6F27727DDD}"/>
                </a:ext>
              </a:extLst>
            </p:cNvPr>
            <p:cNvSpPr>
              <a:spLocks noGrp="1" noRot="1" noMove="1" noResize="1" noEditPoints="1" noAdjustHandles="1" noChangeArrowheads="1" noChangeShapeType="1"/>
            </p:cNvSpPr>
            <p:nvPr userDrawn="1"/>
          </p:nvSpPr>
          <p:spPr>
            <a:xfrm>
              <a:off x="3538575" y="4314726"/>
              <a:ext cx="4752000" cy="2543274"/>
            </a:xfrm>
            <a:custGeom>
              <a:avLst/>
              <a:gdLst>
                <a:gd name="connsiteX0" fmla="*/ 1914660 w 4786649"/>
                <a:gd name="connsiteY0" fmla="*/ 0 h 2543274"/>
                <a:gd name="connsiteX1" fmla="*/ 2871990 w 4786649"/>
                <a:gd name="connsiteY1" fmla="*/ 0 h 2543274"/>
                <a:gd name="connsiteX2" fmla="*/ 3191100 w 4786649"/>
                <a:gd name="connsiteY2" fmla="*/ 319110 h 2543274"/>
                <a:gd name="connsiteX3" fmla="*/ 3191100 w 4786649"/>
                <a:gd name="connsiteY3" fmla="*/ 1356217 h 2543274"/>
                <a:gd name="connsiteX4" fmla="*/ 3430432 w 4786649"/>
                <a:gd name="connsiteY4" fmla="*/ 1595549 h 2543274"/>
                <a:gd name="connsiteX5" fmla="*/ 4467539 w 4786649"/>
                <a:gd name="connsiteY5" fmla="*/ 1595549 h 2543274"/>
                <a:gd name="connsiteX6" fmla="*/ 4786649 w 4786649"/>
                <a:gd name="connsiteY6" fmla="*/ 1914659 h 2543274"/>
                <a:gd name="connsiteX7" fmla="*/ 4786649 w 4786649"/>
                <a:gd name="connsiteY7" fmla="*/ 2543274 h 2543274"/>
                <a:gd name="connsiteX8" fmla="*/ 0 w 4786649"/>
                <a:gd name="connsiteY8" fmla="*/ 2543274 h 2543274"/>
                <a:gd name="connsiteX9" fmla="*/ 0 w 4786649"/>
                <a:gd name="connsiteY9" fmla="*/ 1914659 h 2543274"/>
                <a:gd name="connsiteX10" fmla="*/ 319110 w 4786649"/>
                <a:gd name="connsiteY10" fmla="*/ 1595549 h 2543274"/>
                <a:gd name="connsiteX11" fmla="*/ 1356217 w 4786649"/>
                <a:gd name="connsiteY11" fmla="*/ 1595549 h 2543274"/>
                <a:gd name="connsiteX12" fmla="*/ 1595550 w 4786649"/>
                <a:gd name="connsiteY12" fmla="*/ 1356217 h 2543274"/>
                <a:gd name="connsiteX13" fmla="*/ 1595550 w 4786649"/>
                <a:gd name="connsiteY13" fmla="*/ 319110 h 2543274"/>
                <a:gd name="connsiteX14" fmla="*/ 1914660 w 4786649"/>
                <a:gd name="connsiteY14"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6649" h="2543274">
                  <a:moveTo>
                    <a:pt x="1914660" y="0"/>
                  </a:moveTo>
                  <a:lnTo>
                    <a:pt x="2871990" y="0"/>
                  </a:lnTo>
                  <a:cubicBezTo>
                    <a:pt x="3048298" y="0"/>
                    <a:pt x="3191100" y="142802"/>
                    <a:pt x="3191100" y="319110"/>
                  </a:cubicBezTo>
                  <a:lnTo>
                    <a:pt x="3191100" y="1356217"/>
                  </a:lnTo>
                  <a:cubicBezTo>
                    <a:pt x="3191100" y="1488448"/>
                    <a:pt x="3298201" y="1595549"/>
                    <a:pt x="3430432" y="1595549"/>
                  </a:cubicBezTo>
                  <a:lnTo>
                    <a:pt x="4467539" y="1595549"/>
                  </a:lnTo>
                  <a:cubicBezTo>
                    <a:pt x="4643848" y="1595549"/>
                    <a:pt x="4786649" y="1738351"/>
                    <a:pt x="4786649" y="1914659"/>
                  </a:cubicBezTo>
                  <a:lnTo>
                    <a:pt x="478664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rgbClr val="90B9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nvGrpSpPr>
            <p:cNvPr id="104" name="Group 103">
              <a:extLst>
                <a:ext uri="{FF2B5EF4-FFF2-40B4-BE49-F238E27FC236}">
                  <a16:creationId xmlns:a16="http://schemas.microsoft.com/office/drawing/2014/main" id="{AFBBEC0D-177B-537E-5C61-3981CA599270}"/>
                </a:ext>
              </a:extLst>
            </p:cNvPr>
            <p:cNvGrpSpPr>
              <a:grpSpLocks noGrp="1" noUngrp="1" noRot="1" noMove="1" noResize="1"/>
            </p:cNvGrpSpPr>
            <p:nvPr userDrawn="1"/>
          </p:nvGrpSpPr>
          <p:grpSpPr>
            <a:xfrm>
              <a:off x="3731134" y="4555175"/>
              <a:ext cx="4366883" cy="2228438"/>
              <a:chOff x="3644852" y="4555175"/>
              <a:chExt cx="4366883" cy="2228438"/>
            </a:xfrm>
            <a:solidFill>
              <a:srgbClr val="035C67"/>
            </a:solidFill>
          </p:grpSpPr>
          <p:grpSp>
            <p:nvGrpSpPr>
              <p:cNvPr id="105" name="Group 104">
                <a:extLst>
                  <a:ext uri="{FF2B5EF4-FFF2-40B4-BE49-F238E27FC236}">
                    <a16:creationId xmlns:a16="http://schemas.microsoft.com/office/drawing/2014/main" id="{6293050E-4C26-885B-290F-1884438C5903}"/>
                  </a:ext>
                </a:extLst>
              </p:cNvPr>
              <p:cNvGrpSpPr>
                <a:grpSpLocks noGrp="1" noUngrp="1" noRot="1" noMove="1" noResize="1"/>
              </p:cNvGrpSpPr>
              <p:nvPr userDrawn="1"/>
            </p:nvGrpSpPr>
            <p:grpSpPr>
              <a:xfrm>
                <a:off x="5248227" y="4555175"/>
                <a:ext cx="1160133" cy="621888"/>
                <a:chOff x="5248227" y="4555175"/>
                <a:chExt cx="1160133" cy="621888"/>
              </a:xfrm>
              <a:grpFill/>
            </p:grpSpPr>
            <p:grpSp>
              <p:nvGrpSpPr>
                <p:cNvPr id="134" name="Group 133">
                  <a:extLst>
                    <a:ext uri="{FF2B5EF4-FFF2-40B4-BE49-F238E27FC236}">
                      <a16:creationId xmlns:a16="http://schemas.microsoft.com/office/drawing/2014/main" id="{3F1BF969-11B6-D42A-184E-908F850A036A}"/>
                    </a:ext>
                  </a:extLst>
                </p:cNvPr>
                <p:cNvGrpSpPr>
                  <a:grpSpLocks noGrp="1" noUngrp="1" noRot="1" noMove="1" noResize="1"/>
                </p:cNvGrpSpPr>
                <p:nvPr userDrawn="1"/>
              </p:nvGrpSpPr>
              <p:grpSpPr>
                <a:xfrm>
                  <a:off x="5248227" y="4555175"/>
                  <a:ext cx="1160133" cy="88488"/>
                  <a:chOff x="5248227" y="4555175"/>
                  <a:chExt cx="1160133" cy="88488"/>
                </a:xfrm>
                <a:grpFill/>
              </p:grpSpPr>
              <p:sp>
                <p:nvSpPr>
                  <p:cNvPr id="139" name="Freeform 95">
                    <a:extLst>
                      <a:ext uri="{FF2B5EF4-FFF2-40B4-BE49-F238E27FC236}">
                        <a16:creationId xmlns:a16="http://schemas.microsoft.com/office/drawing/2014/main" id="{A5906B0B-650F-28D7-DD18-AC0E04E28F0B}"/>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95">
                    <a:extLst>
                      <a:ext uri="{FF2B5EF4-FFF2-40B4-BE49-F238E27FC236}">
                        <a16:creationId xmlns:a16="http://schemas.microsoft.com/office/drawing/2014/main" id="{E403C679-3F82-3B9A-C7D0-FBAC83EB8507}"/>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95">
                    <a:extLst>
                      <a:ext uri="{FF2B5EF4-FFF2-40B4-BE49-F238E27FC236}">
                        <a16:creationId xmlns:a16="http://schemas.microsoft.com/office/drawing/2014/main" id="{F2FAB0F4-CEDB-B681-B870-DFB0ADFAC9BC}"/>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5" name="Group 134">
                  <a:extLst>
                    <a:ext uri="{FF2B5EF4-FFF2-40B4-BE49-F238E27FC236}">
                      <a16:creationId xmlns:a16="http://schemas.microsoft.com/office/drawing/2014/main" id="{5DCB01C6-118E-41A3-DADA-4D8CB5C62B93}"/>
                    </a:ext>
                  </a:extLst>
                </p:cNvPr>
                <p:cNvGrpSpPr>
                  <a:grpSpLocks noGrp="1" noUngrp="1" noRot="1" noMove="1" noResize="1"/>
                </p:cNvGrpSpPr>
                <p:nvPr userDrawn="1"/>
              </p:nvGrpSpPr>
              <p:grpSpPr>
                <a:xfrm>
                  <a:off x="5248227" y="5088575"/>
                  <a:ext cx="1160133" cy="88488"/>
                  <a:chOff x="5248227" y="4555175"/>
                  <a:chExt cx="1160133" cy="88488"/>
                </a:xfrm>
                <a:grpFill/>
              </p:grpSpPr>
              <p:sp>
                <p:nvSpPr>
                  <p:cNvPr id="136" name="Freeform 95">
                    <a:extLst>
                      <a:ext uri="{FF2B5EF4-FFF2-40B4-BE49-F238E27FC236}">
                        <a16:creationId xmlns:a16="http://schemas.microsoft.com/office/drawing/2014/main" id="{7EC7786C-6A2D-1174-6F2C-7394C19FB997}"/>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95">
                    <a:extLst>
                      <a:ext uri="{FF2B5EF4-FFF2-40B4-BE49-F238E27FC236}">
                        <a16:creationId xmlns:a16="http://schemas.microsoft.com/office/drawing/2014/main" id="{4AE0373A-9ABD-8E3D-05F5-794DF803E772}"/>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95">
                    <a:extLst>
                      <a:ext uri="{FF2B5EF4-FFF2-40B4-BE49-F238E27FC236}">
                        <a16:creationId xmlns:a16="http://schemas.microsoft.com/office/drawing/2014/main" id="{6F7502B2-0F03-A33D-CD68-6D061D726A6D}"/>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6" name="Group 105">
                <a:extLst>
                  <a:ext uri="{FF2B5EF4-FFF2-40B4-BE49-F238E27FC236}">
                    <a16:creationId xmlns:a16="http://schemas.microsoft.com/office/drawing/2014/main" id="{C264EDC3-9FB1-AC82-9684-48F59FC2D591}"/>
                  </a:ext>
                </a:extLst>
              </p:cNvPr>
              <p:cNvGrpSpPr>
                <a:grpSpLocks noGrp="1" noUngrp="1" noRot="1" noMove="1" noResize="1"/>
              </p:cNvGrpSpPr>
              <p:nvPr userDrawn="1"/>
            </p:nvGrpSpPr>
            <p:grpSpPr>
              <a:xfrm>
                <a:off x="5248227" y="5625150"/>
                <a:ext cx="1160133" cy="88488"/>
                <a:chOff x="5248227" y="4555175"/>
                <a:chExt cx="1160133" cy="88488"/>
              </a:xfrm>
              <a:grpFill/>
            </p:grpSpPr>
            <p:sp>
              <p:nvSpPr>
                <p:cNvPr id="131" name="Freeform 95">
                  <a:extLst>
                    <a:ext uri="{FF2B5EF4-FFF2-40B4-BE49-F238E27FC236}">
                      <a16:creationId xmlns:a16="http://schemas.microsoft.com/office/drawing/2014/main" id="{9A3569E6-8E42-0A19-B728-01C943BFED27}"/>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95">
                  <a:extLst>
                    <a:ext uri="{FF2B5EF4-FFF2-40B4-BE49-F238E27FC236}">
                      <a16:creationId xmlns:a16="http://schemas.microsoft.com/office/drawing/2014/main" id="{DCBB77C5-2A7E-64F4-679D-93E359398075}"/>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95">
                  <a:extLst>
                    <a:ext uri="{FF2B5EF4-FFF2-40B4-BE49-F238E27FC236}">
                      <a16:creationId xmlns:a16="http://schemas.microsoft.com/office/drawing/2014/main" id="{C5DA6616-2859-46AC-4D96-D6C0B374DF5F}"/>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7" name="Group 106">
                <a:extLst>
                  <a:ext uri="{FF2B5EF4-FFF2-40B4-BE49-F238E27FC236}">
                    <a16:creationId xmlns:a16="http://schemas.microsoft.com/office/drawing/2014/main" id="{9CF62D89-8B68-E02C-BF11-581B7B21E6DB}"/>
                  </a:ext>
                </a:extLst>
              </p:cNvPr>
              <p:cNvGrpSpPr>
                <a:grpSpLocks noGrp="1" noUngrp="1" noRot="1" noMove="1" noResize="1"/>
              </p:cNvGrpSpPr>
              <p:nvPr userDrawn="1"/>
            </p:nvGrpSpPr>
            <p:grpSpPr>
              <a:xfrm>
                <a:off x="5248227" y="6158550"/>
                <a:ext cx="1160133" cy="88488"/>
                <a:chOff x="5248227" y="4555175"/>
                <a:chExt cx="1160133" cy="88488"/>
              </a:xfrm>
              <a:grpFill/>
            </p:grpSpPr>
            <p:sp>
              <p:nvSpPr>
                <p:cNvPr id="128" name="Freeform 95">
                  <a:extLst>
                    <a:ext uri="{FF2B5EF4-FFF2-40B4-BE49-F238E27FC236}">
                      <a16:creationId xmlns:a16="http://schemas.microsoft.com/office/drawing/2014/main" id="{C025DD1E-DBDF-E26C-C4C7-D27BA6F8A1F5}"/>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95">
                  <a:extLst>
                    <a:ext uri="{FF2B5EF4-FFF2-40B4-BE49-F238E27FC236}">
                      <a16:creationId xmlns:a16="http://schemas.microsoft.com/office/drawing/2014/main" id="{A883AE75-404C-20BF-706B-5385FFF599CD}"/>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95">
                  <a:extLst>
                    <a:ext uri="{FF2B5EF4-FFF2-40B4-BE49-F238E27FC236}">
                      <a16:creationId xmlns:a16="http://schemas.microsoft.com/office/drawing/2014/main" id="{0EE9A9BC-12FD-7682-6245-011C07B9DBBF}"/>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8" name="Group 107">
                <a:extLst>
                  <a:ext uri="{FF2B5EF4-FFF2-40B4-BE49-F238E27FC236}">
                    <a16:creationId xmlns:a16="http://schemas.microsoft.com/office/drawing/2014/main" id="{03366751-D15B-A1EC-2AD4-80F941005959}"/>
                  </a:ext>
                </a:extLst>
              </p:cNvPr>
              <p:cNvGrpSpPr>
                <a:grpSpLocks noGrp="1" noUngrp="1" noRot="1" noMove="1" noResize="1"/>
              </p:cNvGrpSpPr>
              <p:nvPr userDrawn="1"/>
            </p:nvGrpSpPr>
            <p:grpSpPr>
              <a:xfrm>
                <a:off x="3644852" y="6158550"/>
                <a:ext cx="1160133" cy="88488"/>
                <a:chOff x="5248227" y="4555175"/>
                <a:chExt cx="1160133" cy="88488"/>
              </a:xfrm>
              <a:grpFill/>
            </p:grpSpPr>
            <p:sp>
              <p:nvSpPr>
                <p:cNvPr id="125" name="Freeform 95">
                  <a:extLst>
                    <a:ext uri="{FF2B5EF4-FFF2-40B4-BE49-F238E27FC236}">
                      <a16:creationId xmlns:a16="http://schemas.microsoft.com/office/drawing/2014/main" id="{FEBD7272-09EE-1D39-2CDE-02DE0DB6960B}"/>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95">
                  <a:extLst>
                    <a:ext uri="{FF2B5EF4-FFF2-40B4-BE49-F238E27FC236}">
                      <a16:creationId xmlns:a16="http://schemas.microsoft.com/office/drawing/2014/main" id="{5E70174D-DD77-3B95-1A06-127013B96DDD}"/>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95">
                  <a:extLst>
                    <a:ext uri="{FF2B5EF4-FFF2-40B4-BE49-F238E27FC236}">
                      <a16:creationId xmlns:a16="http://schemas.microsoft.com/office/drawing/2014/main" id="{1F67E7A5-5319-EF22-0388-E68373FD7B37}"/>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 name="Group 108">
                <a:extLst>
                  <a:ext uri="{FF2B5EF4-FFF2-40B4-BE49-F238E27FC236}">
                    <a16:creationId xmlns:a16="http://schemas.microsoft.com/office/drawing/2014/main" id="{98C042F4-390A-8200-84E4-18012278DA1C}"/>
                  </a:ext>
                </a:extLst>
              </p:cNvPr>
              <p:cNvGrpSpPr>
                <a:grpSpLocks noGrp="1" noUngrp="1" noRot="1" noMove="1" noResize="1"/>
              </p:cNvGrpSpPr>
              <p:nvPr userDrawn="1"/>
            </p:nvGrpSpPr>
            <p:grpSpPr>
              <a:xfrm>
                <a:off x="6851602" y="6158550"/>
                <a:ext cx="1160133" cy="88488"/>
                <a:chOff x="5248227" y="4555175"/>
                <a:chExt cx="1160133" cy="88488"/>
              </a:xfrm>
              <a:grpFill/>
            </p:grpSpPr>
            <p:sp>
              <p:nvSpPr>
                <p:cNvPr id="122" name="Freeform 95">
                  <a:extLst>
                    <a:ext uri="{FF2B5EF4-FFF2-40B4-BE49-F238E27FC236}">
                      <a16:creationId xmlns:a16="http://schemas.microsoft.com/office/drawing/2014/main" id="{4FB651DB-D0A9-205F-FEE5-BE91F19A17F0}"/>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95">
                  <a:extLst>
                    <a:ext uri="{FF2B5EF4-FFF2-40B4-BE49-F238E27FC236}">
                      <a16:creationId xmlns:a16="http://schemas.microsoft.com/office/drawing/2014/main" id="{AA49CA67-A35D-6854-CAAB-A65DBBB92D77}"/>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95">
                  <a:extLst>
                    <a:ext uri="{FF2B5EF4-FFF2-40B4-BE49-F238E27FC236}">
                      <a16:creationId xmlns:a16="http://schemas.microsoft.com/office/drawing/2014/main" id="{91EF704F-431B-11C9-6DE1-9572A5D36E13}"/>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0" name="Group 109">
                <a:extLst>
                  <a:ext uri="{FF2B5EF4-FFF2-40B4-BE49-F238E27FC236}">
                    <a16:creationId xmlns:a16="http://schemas.microsoft.com/office/drawing/2014/main" id="{A33EA5AE-7C49-9316-F4A0-A620A7541F95}"/>
                  </a:ext>
                </a:extLst>
              </p:cNvPr>
              <p:cNvGrpSpPr>
                <a:grpSpLocks noGrp="1" noUngrp="1" noRot="1" noMove="1" noResize="1"/>
              </p:cNvGrpSpPr>
              <p:nvPr userDrawn="1"/>
            </p:nvGrpSpPr>
            <p:grpSpPr>
              <a:xfrm>
                <a:off x="5248227" y="6695125"/>
                <a:ext cx="1160133" cy="88488"/>
                <a:chOff x="5248227" y="4555175"/>
                <a:chExt cx="1160133" cy="88488"/>
              </a:xfrm>
              <a:grpFill/>
            </p:grpSpPr>
            <p:sp>
              <p:nvSpPr>
                <p:cNvPr id="119" name="Freeform 95">
                  <a:extLst>
                    <a:ext uri="{FF2B5EF4-FFF2-40B4-BE49-F238E27FC236}">
                      <a16:creationId xmlns:a16="http://schemas.microsoft.com/office/drawing/2014/main" id="{D5F5A192-9B21-FC2D-8007-F8AA683AE0A4}"/>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95">
                  <a:extLst>
                    <a:ext uri="{FF2B5EF4-FFF2-40B4-BE49-F238E27FC236}">
                      <a16:creationId xmlns:a16="http://schemas.microsoft.com/office/drawing/2014/main" id="{616C6AD0-1685-F459-BB4C-7C842E6646B4}"/>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95">
                  <a:extLst>
                    <a:ext uri="{FF2B5EF4-FFF2-40B4-BE49-F238E27FC236}">
                      <a16:creationId xmlns:a16="http://schemas.microsoft.com/office/drawing/2014/main" id="{DA1E73BC-CD8F-7F04-4E21-D5475C6AE1D4}"/>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1" name="Group 110">
                <a:extLst>
                  <a:ext uri="{FF2B5EF4-FFF2-40B4-BE49-F238E27FC236}">
                    <a16:creationId xmlns:a16="http://schemas.microsoft.com/office/drawing/2014/main" id="{553ED4ED-4349-8DBD-CFFD-0C0B249DB4CC}"/>
                  </a:ext>
                </a:extLst>
              </p:cNvPr>
              <p:cNvGrpSpPr>
                <a:grpSpLocks noGrp="1" noUngrp="1" noRot="1" noMove="1" noResize="1"/>
              </p:cNvGrpSpPr>
              <p:nvPr userDrawn="1"/>
            </p:nvGrpSpPr>
            <p:grpSpPr>
              <a:xfrm>
                <a:off x="3644852" y="6695125"/>
                <a:ext cx="1160133" cy="88488"/>
                <a:chOff x="5248227" y="4555175"/>
                <a:chExt cx="1160133" cy="88488"/>
              </a:xfrm>
              <a:grpFill/>
            </p:grpSpPr>
            <p:sp>
              <p:nvSpPr>
                <p:cNvPr id="116" name="Freeform 95">
                  <a:extLst>
                    <a:ext uri="{FF2B5EF4-FFF2-40B4-BE49-F238E27FC236}">
                      <a16:creationId xmlns:a16="http://schemas.microsoft.com/office/drawing/2014/main" id="{6522D6D4-7767-B6E0-EF04-6BF05194C6B2}"/>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95">
                  <a:extLst>
                    <a:ext uri="{FF2B5EF4-FFF2-40B4-BE49-F238E27FC236}">
                      <a16:creationId xmlns:a16="http://schemas.microsoft.com/office/drawing/2014/main" id="{3896D83A-ECCF-E39C-F14B-2851E95AFB20}"/>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95">
                  <a:extLst>
                    <a:ext uri="{FF2B5EF4-FFF2-40B4-BE49-F238E27FC236}">
                      <a16:creationId xmlns:a16="http://schemas.microsoft.com/office/drawing/2014/main" id="{804BD4D6-FBF5-03D8-C4B2-E944FBE78FA0}"/>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111">
                <a:extLst>
                  <a:ext uri="{FF2B5EF4-FFF2-40B4-BE49-F238E27FC236}">
                    <a16:creationId xmlns:a16="http://schemas.microsoft.com/office/drawing/2014/main" id="{4700202E-8ED2-3647-5D8D-0ABB5003BD8F}"/>
                  </a:ext>
                </a:extLst>
              </p:cNvPr>
              <p:cNvGrpSpPr>
                <a:grpSpLocks noGrp="1" noUngrp="1" noRot="1" noMove="1" noResize="1"/>
              </p:cNvGrpSpPr>
              <p:nvPr userDrawn="1"/>
            </p:nvGrpSpPr>
            <p:grpSpPr>
              <a:xfrm>
                <a:off x="6851602" y="6695125"/>
                <a:ext cx="1160133" cy="88488"/>
                <a:chOff x="5248227" y="4555175"/>
                <a:chExt cx="1160133" cy="88488"/>
              </a:xfrm>
              <a:grpFill/>
            </p:grpSpPr>
            <p:sp>
              <p:nvSpPr>
                <p:cNvPr id="113" name="Freeform 95">
                  <a:extLst>
                    <a:ext uri="{FF2B5EF4-FFF2-40B4-BE49-F238E27FC236}">
                      <a16:creationId xmlns:a16="http://schemas.microsoft.com/office/drawing/2014/main" id="{F2EDA99C-628B-DFE7-4E5A-2AB0D056EFA2}"/>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95">
                  <a:extLst>
                    <a:ext uri="{FF2B5EF4-FFF2-40B4-BE49-F238E27FC236}">
                      <a16:creationId xmlns:a16="http://schemas.microsoft.com/office/drawing/2014/main" id="{9F7A5C4E-72AD-6138-4F64-46ABC7638780}"/>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95">
                  <a:extLst>
                    <a:ext uri="{FF2B5EF4-FFF2-40B4-BE49-F238E27FC236}">
                      <a16:creationId xmlns:a16="http://schemas.microsoft.com/office/drawing/2014/main" id="{34C99FAC-B74D-2D41-BF86-29B96A353323}"/>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pic>
        <p:nvPicPr>
          <p:cNvPr id="13" name="Picture 12" descr="A person holding a baby&#10;&#10;Description automatically generated">
            <a:extLst>
              <a:ext uri="{FF2B5EF4-FFF2-40B4-BE49-F238E27FC236}">
                <a16:creationId xmlns:a16="http://schemas.microsoft.com/office/drawing/2014/main" id="{83AB052D-0395-3A2E-8374-9B557F752B1C}"/>
              </a:ext>
            </a:extLst>
          </p:cNvPr>
          <p:cNvPicPr>
            <a:picLocks noGrp="1" noRot="1" noChangeAspect="1" noMove="1" noResize="1" noEditPoints="1" noAdjustHandles="1" noChangeArrowheads="1" noChangeShapeType="1" noCrop="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6309284" y="354192"/>
            <a:ext cx="4738916" cy="4738918"/>
          </a:xfrm>
          <a:custGeom>
            <a:avLst/>
            <a:gdLst>
              <a:gd name="connsiteX0" fmla="*/ 1894492 w 4736490"/>
              <a:gd name="connsiteY0" fmla="*/ 0 h 4736492"/>
              <a:gd name="connsiteX1" fmla="*/ 2841739 w 4736490"/>
              <a:gd name="connsiteY1" fmla="*/ 0 h 4736492"/>
              <a:gd name="connsiteX2" fmla="*/ 3157445 w 4736490"/>
              <a:gd name="connsiteY2" fmla="*/ 315706 h 4736492"/>
              <a:gd name="connsiteX3" fmla="*/ 3157445 w 4736490"/>
              <a:gd name="connsiteY3" fmla="*/ 1342008 h 4736492"/>
              <a:gd name="connsiteX4" fmla="*/ 3394224 w 4736490"/>
              <a:gd name="connsiteY4" fmla="*/ 1578788 h 4736492"/>
              <a:gd name="connsiteX5" fmla="*/ 4420526 w 4736490"/>
              <a:gd name="connsiteY5" fmla="*/ 1578788 h 4736492"/>
              <a:gd name="connsiteX6" fmla="*/ 4736232 w 4736490"/>
              <a:gd name="connsiteY6" fmla="*/ 1894494 h 4736492"/>
              <a:gd name="connsiteX7" fmla="*/ 4736232 w 4736490"/>
              <a:gd name="connsiteY7" fmla="*/ 2841740 h 4736492"/>
              <a:gd name="connsiteX8" fmla="*/ 4736490 w 4736490"/>
              <a:gd name="connsiteY8" fmla="*/ 2841998 h 4736492"/>
              <a:gd name="connsiteX9" fmla="*/ 4420784 w 4736490"/>
              <a:gd name="connsiteY9" fmla="*/ 3157704 h 4736492"/>
              <a:gd name="connsiteX10" fmla="*/ 3394482 w 4736490"/>
              <a:gd name="connsiteY10" fmla="*/ 3157704 h 4736492"/>
              <a:gd name="connsiteX11" fmla="*/ 3157703 w 4736490"/>
              <a:gd name="connsiteY11" fmla="*/ 3394484 h 4736492"/>
              <a:gd name="connsiteX12" fmla="*/ 3157703 w 4736490"/>
              <a:gd name="connsiteY12" fmla="*/ 4420786 h 4736492"/>
              <a:gd name="connsiteX13" fmla="*/ 2841997 w 4736490"/>
              <a:gd name="connsiteY13" fmla="*/ 4736492 h 4736492"/>
              <a:gd name="connsiteX14" fmla="*/ 1894750 w 4736490"/>
              <a:gd name="connsiteY14" fmla="*/ 4736492 h 4736492"/>
              <a:gd name="connsiteX15" fmla="*/ 1579044 w 4736490"/>
              <a:gd name="connsiteY15" fmla="*/ 4420786 h 4736492"/>
              <a:gd name="connsiteX16" fmla="*/ 1579044 w 4736490"/>
              <a:gd name="connsiteY16" fmla="*/ 3394484 h 4736492"/>
              <a:gd name="connsiteX17" fmla="*/ 1342265 w 4736490"/>
              <a:gd name="connsiteY17" fmla="*/ 3157704 h 4736492"/>
              <a:gd name="connsiteX18" fmla="*/ 315705 w 4736490"/>
              <a:gd name="connsiteY18" fmla="*/ 3157704 h 4736492"/>
              <a:gd name="connsiteX19" fmla="*/ 0 w 4736490"/>
              <a:gd name="connsiteY19" fmla="*/ 2841998 h 4736492"/>
              <a:gd name="connsiteX20" fmla="*/ 0 w 4736490"/>
              <a:gd name="connsiteY20" fmla="*/ 1894752 h 4736492"/>
              <a:gd name="connsiteX21" fmla="*/ 315705 w 4736490"/>
              <a:gd name="connsiteY21" fmla="*/ 1579046 h 4736492"/>
              <a:gd name="connsiteX22" fmla="*/ 596849 w 4736490"/>
              <a:gd name="connsiteY22" fmla="*/ 1575048 h 4736492"/>
              <a:gd name="connsiteX23" fmla="*/ 626897 w 4736490"/>
              <a:gd name="connsiteY23" fmla="*/ 1147658 h 4736492"/>
              <a:gd name="connsiteX24" fmla="*/ 739355 w 4736490"/>
              <a:gd name="connsiteY24" fmla="*/ 847686 h 4736492"/>
              <a:gd name="connsiteX25" fmla="*/ 1016758 w 4736490"/>
              <a:gd name="connsiteY25" fmla="*/ 435257 h 4736492"/>
              <a:gd name="connsiteX26" fmla="*/ 1353743 w 4736490"/>
              <a:gd name="connsiteY26" fmla="*/ 200025 h 4736492"/>
              <a:gd name="connsiteX27" fmla="*/ 1653973 w 4736490"/>
              <a:gd name="connsiteY27" fmla="*/ 106525 h 4736492"/>
              <a:gd name="connsiteX28" fmla="*/ 1660808 w 4736490"/>
              <a:gd name="connsiteY28" fmla="*/ 103430 h 4736492"/>
              <a:gd name="connsiteX29" fmla="*/ 1694210 w 4736490"/>
              <a:gd name="connsiteY29" fmla="*/ 71576 h 4736492"/>
              <a:gd name="connsiteX30" fmla="*/ 1770686 w 4736490"/>
              <a:gd name="connsiteY30" fmla="*/ 25149 h 4736492"/>
              <a:gd name="connsiteX31" fmla="*/ 1820595 w 4736490"/>
              <a:gd name="connsiteY31" fmla="*/ 8770 h 4736492"/>
              <a:gd name="connsiteX32" fmla="*/ 1852192 w 4736490"/>
              <a:gd name="connsiteY32" fmla="*/ 903 h 4736492"/>
              <a:gd name="connsiteX33" fmla="*/ 1871279 w 4736490"/>
              <a:gd name="connsiteY33" fmla="*/ 903 h 4736492"/>
              <a:gd name="connsiteX34" fmla="*/ 1894492 w 4736490"/>
              <a:gd name="connsiteY34" fmla="*/ 0 h 473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736490" h="4736492">
                <a:moveTo>
                  <a:pt x="1894492" y="0"/>
                </a:moveTo>
                <a:lnTo>
                  <a:pt x="2841739" y="0"/>
                </a:lnTo>
                <a:cubicBezTo>
                  <a:pt x="3016099" y="0"/>
                  <a:pt x="3157445" y="141346"/>
                  <a:pt x="3157445" y="315706"/>
                </a:cubicBezTo>
                <a:lnTo>
                  <a:pt x="3157445" y="1342008"/>
                </a:lnTo>
                <a:cubicBezTo>
                  <a:pt x="3157445" y="1472779"/>
                  <a:pt x="3263454" y="1578788"/>
                  <a:pt x="3394224" y="1578788"/>
                </a:cubicBezTo>
                <a:lnTo>
                  <a:pt x="4420526" y="1578788"/>
                </a:lnTo>
                <a:cubicBezTo>
                  <a:pt x="4594886" y="1578788"/>
                  <a:pt x="4736232" y="1720133"/>
                  <a:pt x="4736232" y="1894494"/>
                </a:cubicBezTo>
                <a:lnTo>
                  <a:pt x="4736232" y="2841740"/>
                </a:lnTo>
                <a:lnTo>
                  <a:pt x="4736490" y="2841998"/>
                </a:lnTo>
                <a:cubicBezTo>
                  <a:pt x="4736490" y="3016359"/>
                  <a:pt x="4595144" y="3157704"/>
                  <a:pt x="4420784" y="3157704"/>
                </a:cubicBezTo>
                <a:lnTo>
                  <a:pt x="3394482" y="3157704"/>
                </a:lnTo>
                <a:cubicBezTo>
                  <a:pt x="3263712" y="3157704"/>
                  <a:pt x="3157703" y="3263713"/>
                  <a:pt x="3157703" y="3394484"/>
                </a:cubicBezTo>
                <a:lnTo>
                  <a:pt x="3157703" y="4420786"/>
                </a:lnTo>
                <a:cubicBezTo>
                  <a:pt x="3157703" y="4595146"/>
                  <a:pt x="3016357" y="4736492"/>
                  <a:pt x="2841997" y="4736492"/>
                </a:cubicBezTo>
                <a:lnTo>
                  <a:pt x="1894750" y="4736492"/>
                </a:lnTo>
                <a:cubicBezTo>
                  <a:pt x="1720390" y="4736492"/>
                  <a:pt x="1579044" y="4595146"/>
                  <a:pt x="1579044" y="4420786"/>
                </a:cubicBezTo>
                <a:lnTo>
                  <a:pt x="1579044" y="3394484"/>
                </a:lnTo>
                <a:cubicBezTo>
                  <a:pt x="1579044" y="3263713"/>
                  <a:pt x="1473035" y="3157704"/>
                  <a:pt x="1342265" y="3157704"/>
                </a:cubicBezTo>
                <a:lnTo>
                  <a:pt x="315705" y="3157704"/>
                </a:lnTo>
                <a:cubicBezTo>
                  <a:pt x="141345" y="3157704"/>
                  <a:pt x="0" y="3016359"/>
                  <a:pt x="0" y="2841998"/>
                </a:cubicBezTo>
                <a:lnTo>
                  <a:pt x="0" y="1894752"/>
                </a:lnTo>
                <a:cubicBezTo>
                  <a:pt x="0" y="1720391"/>
                  <a:pt x="141345" y="1579046"/>
                  <a:pt x="315705" y="1579046"/>
                </a:cubicBezTo>
                <a:lnTo>
                  <a:pt x="596849" y="1575048"/>
                </a:lnTo>
                <a:lnTo>
                  <a:pt x="626897" y="1147658"/>
                </a:lnTo>
                <a:lnTo>
                  <a:pt x="739355" y="847686"/>
                </a:lnTo>
                <a:cubicBezTo>
                  <a:pt x="851812" y="667780"/>
                  <a:pt x="911781" y="555323"/>
                  <a:pt x="1016758" y="435257"/>
                </a:cubicBezTo>
                <a:lnTo>
                  <a:pt x="1353743" y="200025"/>
                </a:lnTo>
                <a:cubicBezTo>
                  <a:pt x="1561247" y="113232"/>
                  <a:pt x="1576594" y="131158"/>
                  <a:pt x="1653973" y="106525"/>
                </a:cubicBezTo>
                <a:cubicBezTo>
                  <a:pt x="1656423" y="105752"/>
                  <a:pt x="1658616" y="104720"/>
                  <a:pt x="1660808" y="103430"/>
                </a:cubicBezTo>
                <a:cubicBezTo>
                  <a:pt x="1671125" y="92081"/>
                  <a:pt x="1682345" y="81377"/>
                  <a:pt x="1694210" y="71576"/>
                </a:cubicBezTo>
                <a:cubicBezTo>
                  <a:pt x="1709170" y="57390"/>
                  <a:pt x="1731094" y="40882"/>
                  <a:pt x="1770686" y="25149"/>
                </a:cubicBezTo>
                <a:cubicBezTo>
                  <a:pt x="1786678" y="18313"/>
                  <a:pt x="1803314" y="12897"/>
                  <a:pt x="1820595" y="8770"/>
                </a:cubicBezTo>
                <a:cubicBezTo>
                  <a:pt x="1830397" y="6062"/>
                  <a:pt x="1840843" y="3483"/>
                  <a:pt x="1852192" y="903"/>
                </a:cubicBezTo>
                <a:lnTo>
                  <a:pt x="1871279" y="903"/>
                </a:lnTo>
                <a:cubicBezTo>
                  <a:pt x="1879017" y="387"/>
                  <a:pt x="1886754" y="0"/>
                  <a:pt x="1894492" y="0"/>
                </a:cubicBezTo>
                <a:close/>
              </a:path>
            </a:pathLst>
          </a:custGeom>
        </p:spPr>
      </p:pic>
      <p:sp>
        <p:nvSpPr>
          <p:cNvPr id="7" name="Text Placeholder 2"/>
          <p:cNvSpPr>
            <a:spLocks noGrp="1"/>
          </p:cNvSpPr>
          <p:nvPr userDrawn="1">
            <p:ph type="body" sz="quarter" idx="13" hasCustomPrompt="1"/>
          </p:nvPr>
        </p:nvSpPr>
        <p:spPr>
          <a:xfrm>
            <a:off x="358776" y="1327355"/>
            <a:ext cx="4676774" cy="396000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accent3"/>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accent4"/>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2" name="Legal dynamic" descr="{&quot;templafy&quot;:{&quot;id&quot;:&quot;fc8fa5cd-c902-4ead-bbde-11a5c4272c90&quot;}}" title="Form.Cigna_Confidentiality.EvernorthConfidentiality">
            <a:extLst>
              <a:ext uri="{FF2B5EF4-FFF2-40B4-BE49-F238E27FC236}">
                <a16:creationId xmlns:a16="http://schemas.microsoft.com/office/drawing/2014/main" id="{C5AC1E1C-A5C9-9BAA-955A-997F9A5BCF63}"/>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d6253f64-b398-46fb-827e-021cc8d6a2be&quot;}}" title="Form.Cigna_Confidentiality.Cigna_confidentiality">
            <a:extLst>
              <a:ext uri="{FF2B5EF4-FFF2-40B4-BE49-F238E27FC236}">
                <a16:creationId xmlns:a16="http://schemas.microsoft.com/office/drawing/2014/main" id="{91243659-5596-BA74-1247-0A96F8F04F30}"/>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dark mint" descr="{&quot;templafy&quot;:{&quot;id&quot;:&quot;9e65c114-53c8-49f9-a1c8-e4f31734d118&quot;}}">
            <a:extLst>
              <a:ext uri="{FF2B5EF4-FFF2-40B4-BE49-F238E27FC236}">
                <a16:creationId xmlns:a16="http://schemas.microsoft.com/office/drawing/2014/main" id="{F87F11C3-3512-8882-8073-1D0F4626756C}"/>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4" name="Date Placeholder 5">
            <a:extLst>
              <a:ext uri="{FF2B5EF4-FFF2-40B4-BE49-F238E27FC236}">
                <a16:creationId xmlns:a16="http://schemas.microsoft.com/office/drawing/2014/main" id="{4FD3E1AA-2BE7-5B26-958D-8A1E30A69F04}"/>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11851096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J. Quote">
    <p:bg>
      <p:bgPr>
        <a:solidFill>
          <a:srgbClr val="008F83"/>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rgbClr val="008F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99" name="Group 98">
            <a:extLst>
              <a:ext uri="{FF2B5EF4-FFF2-40B4-BE49-F238E27FC236}">
                <a16:creationId xmlns:a16="http://schemas.microsoft.com/office/drawing/2014/main" id="{B42FBCEA-EFD2-3EDA-9941-92422EDB0F5D}"/>
              </a:ext>
            </a:extLst>
          </p:cNvPr>
          <p:cNvGrpSpPr>
            <a:grpSpLocks noGrp="1" noUngrp="1" noRot="1" noMove="1" noResize="1"/>
          </p:cNvGrpSpPr>
          <p:nvPr userDrawn="1"/>
        </p:nvGrpSpPr>
        <p:grpSpPr>
          <a:xfrm>
            <a:off x="3538575" y="4314726"/>
            <a:ext cx="8681999" cy="2543274"/>
            <a:chOff x="3538575" y="4314726"/>
            <a:chExt cx="8681999" cy="2543274"/>
          </a:xfrm>
        </p:grpSpPr>
        <p:sp>
          <p:nvSpPr>
            <p:cNvPr id="100" name="Freeform: Shape 99">
              <a:extLst>
                <a:ext uri="{FF2B5EF4-FFF2-40B4-BE49-F238E27FC236}">
                  <a16:creationId xmlns:a16="http://schemas.microsoft.com/office/drawing/2014/main" id="{A049F9FF-C76C-A2D1-3BFD-81FAD3CF10AC}"/>
                </a:ext>
              </a:extLst>
            </p:cNvPr>
            <p:cNvSpPr>
              <a:spLocks noGrp="1" noRot="1" noMove="1" noResize="1" noEditPoints="1" noAdjustHandles="1" noChangeArrowheads="1" noChangeShapeType="1"/>
            </p:cNvSpPr>
            <p:nvPr userDrawn="1"/>
          </p:nvSpPr>
          <p:spPr>
            <a:xfrm>
              <a:off x="9086175" y="4314726"/>
              <a:ext cx="3134399" cy="2543274"/>
            </a:xfrm>
            <a:custGeom>
              <a:avLst/>
              <a:gdLst>
                <a:gd name="connsiteX0" fmla="*/ 1914660 w 3134399"/>
                <a:gd name="connsiteY0" fmla="*/ 0 h 2543274"/>
                <a:gd name="connsiteX1" fmla="*/ 2871990 w 3134399"/>
                <a:gd name="connsiteY1" fmla="*/ 0 h 2543274"/>
                <a:gd name="connsiteX2" fmla="*/ 3118253 w 3134399"/>
                <a:gd name="connsiteY2" fmla="*/ 116098 h 2543274"/>
                <a:gd name="connsiteX3" fmla="*/ 3134399 w 3134399"/>
                <a:gd name="connsiteY3" fmla="*/ 142718 h 2543274"/>
                <a:gd name="connsiteX4" fmla="*/ 3134399 w 3134399"/>
                <a:gd name="connsiteY4" fmla="*/ 2543274 h 2543274"/>
                <a:gd name="connsiteX5" fmla="*/ 0 w 3134399"/>
                <a:gd name="connsiteY5" fmla="*/ 2543274 h 2543274"/>
                <a:gd name="connsiteX6" fmla="*/ 0 w 3134399"/>
                <a:gd name="connsiteY6" fmla="*/ 1914659 h 2543274"/>
                <a:gd name="connsiteX7" fmla="*/ 319110 w 3134399"/>
                <a:gd name="connsiteY7" fmla="*/ 1595549 h 2543274"/>
                <a:gd name="connsiteX8" fmla="*/ 1356217 w 3134399"/>
                <a:gd name="connsiteY8" fmla="*/ 1595549 h 2543274"/>
                <a:gd name="connsiteX9" fmla="*/ 1595550 w 3134399"/>
                <a:gd name="connsiteY9" fmla="*/ 1356217 h 2543274"/>
                <a:gd name="connsiteX10" fmla="*/ 1595550 w 3134399"/>
                <a:gd name="connsiteY10" fmla="*/ 319110 h 2543274"/>
                <a:gd name="connsiteX11" fmla="*/ 1914660 w 3134399"/>
                <a:gd name="connsiteY11"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4399" h="2543274">
                  <a:moveTo>
                    <a:pt x="1914660" y="0"/>
                  </a:moveTo>
                  <a:lnTo>
                    <a:pt x="2871990" y="0"/>
                  </a:lnTo>
                  <a:cubicBezTo>
                    <a:pt x="2971163" y="0"/>
                    <a:pt x="3059735" y="45184"/>
                    <a:pt x="3118253" y="116098"/>
                  </a:cubicBezTo>
                  <a:lnTo>
                    <a:pt x="3134399" y="142718"/>
                  </a:lnTo>
                  <a:lnTo>
                    <a:pt x="313439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rgbClr val="3EFF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101" name="Freeform 17">
              <a:extLst>
                <a:ext uri="{FF2B5EF4-FFF2-40B4-BE49-F238E27FC236}">
                  <a16:creationId xmlns:a16="http://schemas.microsoft.com/office/drawing/2014/main" id="{25B05029-37D7-2F83-AC72-DEDE8FE00EAD}"/>
                </a:ext>
              </a:extLst>
            </p:cNvPr>
            <p:cNvSpPr>
              <a:spLocks noGrp="1" noRot="1" noMove="1" noResize="1" noEditPoints="1" noAdjustHandles="1" noChangeArrowheads="1" noChangeShapeType="1"/>
            </p:cNvSpPr>
            <p:nvPr userDrawn="1"/>
          </p:nvSpPr>
          <p:spPr>
            <a:xfrm>
              <a:off x="3538575" y="4314726"/>
              <a:ext cx="4752000" cy="2543274"/>
            </a:xfrm>
            <a:custGeom>
              <a:avLst/>
              <a:gdLst>
                <a:gd name="connsiteX0" fmla="*/ 1914660 w 4786649"/>
                <a:gd name="connsiteY0" fmla="*/ 0 h 2543274"/>
                <a:gd name="connsiteX1" fmla="*/ 2871990 w 4786649"/>
                <a:gd name="connsiteY1" fmla="*/ 0 h 2543274"/>
                <a:gd name="connsiteX2" fmla="*/ 3191100 w 4786649"/>
                <a:gd name="connsiteY2" fmla="*/ 319110 h 2543274"/>
                <a:gd name="connsiteX3" fmla="*/ 3191100 w 4786649"/>
                <a:gd name="connsiteY3" fmla="*/ 1356217 h 2543274"/>
                <a:gd name="connsiteX4" fmla="*/ 3430432 w 4786649"/>
                <a:gd name="connsiteY4" fmla="*/ 1595549 h 2543274"/>
                <a:gd name="connsiteX5" fmla="*/ 4467539 w 4786649"/>
                <a:gd name="connsiteY5" fmla="*/ 1595549 h 2543274"/>
                <a:gd name="connsiteX6" fmla="*/ 4786649 w 4786649"/>
                <a:gd name="connsiteY6" fmla="*/ 1914659 h 2543274"/>
                <a:gd name="connsiteX7" fmla="*/ 4786649 w 4786649"/>
                <a:gd name="connsiteY7" fmla="*/ 2543274 h 2543274"/>
                <a:gd name="connsiteX8" fmla="*/ 0 w 4786649"/>
                <a:gd name="connsiteY8" fmla="*/ 2543274 h 2543274"/>
                <a:gd name="connsiteX9" fmla="*/ 0 w 4786649"/>
                <a:gd name="connsiteY9" fmla="*/ 1914659 h 2543274"/>
                <a:gd name="connsiteX10" fmla="*/ 319110 w 4786649"/>
                <a:gd name="connsiteY10" fmla="*/ 1595549 h 2543274"/>
                <a:gd name="connsiteX11" fmla="*/ 1356217 w 4786649"/>
                <a:gd name="connsiteY11" fmla="*/ 1595549 h 2543274"/>
                <a:gd name="connsiteX12" fmla="*/ 1595550 w 4786649"/>
                <a:gd name="connsiteY12" fmla="*/ 1356217 h 2543274"/>
                <a:gd name="connsiteX13" fmla="*/ 1595550 w 4786649"/>
                <a:gd name="connsiteY13" fmla="*/ 319110 h 2543274"/>
                <a:gd name="connsiteX14" fmla="*/ 1914660 w 4786649"/>
                <a:gd name="connsiteY14"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6649" h="2543274">
                  <a:moveTo>
                    <a:pt x="1914660" y="0"/>
                  </a:moveTo>
                  <a:lnTo>
                    <a:pt x="2871990" y="0"/>
                  </a:lnTo>
                  <a:cubicBezTo>
                    <a:pt x="3048298" y="0"/>
                    <a:pt x="3191100" y="142802"/>
                    <a:pt x="3191100" y="319110"/>
                  </a:cubicBezTo>
                  <a:lnTo>
                    <a:pt x="3191100" y="1356217"/>
                  </a:lnTo>
                  <a:cubicBezTo>
                    <a:pt x="3191100" y="1488448"/>
                    <a:pt x="3298201" y="1595549"/>
                    <a:pt x="3430432" y="1595549"/>
                  </a:cubicBezTo>
                  <a:lnTo>
                    <a:pt x="4467539" y="1595549"/>
                  </a:lnTo>
                  <a:cubicBezTo>
                    <a:pt x="4643848" y="1595549"/>
                    <a:pt x="4786649" y="1738351"/>
                    <a:pt x="4786649" y="1914659"/>
                  </a:cubicBezTo>
                  <a:lnTo>
                    <a:pt x="478664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nvGrpSpPr>
            <p:cNvPr id="102" name="Group 101">
              <a:extLst>
                <a:ext uri="{FF2B5EF4-FFF2-40B4-BE49-F238E27FC236}">
                  <a16:creationId xmlns:a16="http://schemas.microsoft.com/office/drawing/2014/main" id="{5FC0112A-5EC6-107F-4386-D02A7AA8B87B}"/>
                </a:ext>
              </a:extLst>
            </p:cNvPr>
            <p:cNvGrpSpPr>
              <a:grpSpLocks noGrp="1" noUngrp="1" noRot="1" noMove="1" noResize="1"/>
            </p:cNvGrpSpPr>
            <p:nvPr userDrawn="1"/>
          </p:nvGrpSpPr>
          <p:grpSpPr>
            <a:xfrm>
              <a:off x="3731134" y="4555175"/>
              <a:ext cx="4366883" cy="2228438"/>
              <a:chOff x="3644852" y="4555175"/>
              <a:chExt cx="4366883" cy="2228438"/>
            </a:xfrm>
            <a:solidFill>
              <a:srgbClr val="008F83"/>
            </a:solidFill>
          </p:grpSpPr>
          <p:grpSp>
            <p:nvGrpSpPr>
              <p:cNvPr id="103" name="Group 102">
                <a:extLst>
                  <a:ext uri="{FF2B5EF4-FFF2-40B4-BE49-F238E27FC236}">
                    <a16:creationId xmlns:a16="http://schemas.microsoft.com/office/drawing/2014/main" id="{CD5592E5-FE06-39A4-E7B2-57E1C7566BCE}"/>
                  </a:ext>
                </a:extLst>
              </p:cNvPr>
              <p:cNvGrpSpPr>
                <a:grpSpLocks noGrp="1" noUngrp="1" noRot="1" noMove="1" noResize="1"/>
              </p:cNvGrpSpPr>
              <p:nvPr userDrawn="1"/>
            </p:nvGrpSpPr>
            <p:grpSpPr>
              <a:xfrm>
                <a:off x="5248227" y="4555175"/>
                <a:ext cx="1160133" cy="621888"/>
                <a:chOff x="5248227" y="4555175"/>
                <a:chExt cx="1160133" cy="621888"/>
              </a:xfrm>
              <a:grpFill/>
            </p:grpSpPr>
            <p:grpSp>
              <p:nvGrpSpPr>
                <p:cNvPr id="132" name="Group 131">
                  <a:extLst>
                    <a:ext uri="{FF2B5EF4-FFF2-40B4-BE49-F238E27FC236}">
                      <a16:creationId xmlns:a16="http://schemas.microsoft.com/office/drawing/2014/main" id="{603B5759-48E7-6037-1C64-026073A34B19}"/>
                    </a:ext>
                  </a:extLst>
                </p:cNvPr>
                <p:cNvGrpSpPr>
                  <a:grpSpLocks noGrp="1" noUngrp="1" noRot="1" noMove="1" noResize="1"/>
                </p:cNvGrpSpPr>
                <p:nvPr userDrawn="1"/>
              </p:nvGrpSpPr>
              <p:grpSpPr>
                <a:xfrm>
                  <a:off x="5248227" y="4555175"/>
                  <a:ext cx="1160133" cy="88488"/>
                  <a:chOff x="5248227" y="4555175"/>
                  <a:chExt cx="1160133" cy="88488"/>
                </a:xfrm>
                <a:grpFill/>
              </p:grpSpPr>
              <p:sp>
                <p:nvSpPr>
                  <p:cNvPr id="137" name="Freeform 95">
                    <a:extLst>
                      <a:ext uri="{FF2B5EF4-FFF2-40B4-BE49-F238E27FC236}">
                        <a16:creationId xmlns:a16="http://schemas.microsoft.com/office/drawing/2014/main" id="{663C75D0-D528-E07F-DF6F-BEA89213A757}"/>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95">
                    <a:extLst>
                      <a:ext uri="{FF2B5EF4-FFF2-40B4-BE49-F238E27FC236}">
                        <a16:creationId xmlns:a16="http://schemas.microsoft.com/office/drawing/2014/main" id="{32D9C452-7B85-C1F3-0BB9-74F68ADFCC33}"/>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95">
                    <a:extLst>
                      <a:ext uri="{FF2B5EF4-FFF2-40B4-BE49-F238E27FC236}">
                        <a16:creationId xmlns:a16="http://schemas.microsoft.com/office/drawing/2014/main" id="{6960222E-DB9B-F7C6-0276-B0B70EF67A22}"/>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3" name="Group 132">
                  <a:extLst>
                    <a:ext uri="{FF2B5EF4-FFF2-40B4-BE49-F238E27FC236}">
                      <a16:creationId xmlns:a16="http://schemas.microsoft.com/office/drawing/2014/main" id="{04543389-F652-1134-0DB6-82F698B85D33}"/>
                    </a:ext>
                  </a:extLst>
                </p:cNvPr>
                <p:cNvGrpSpPr>
                  <a:grpSpLocks noGrp="1" noUngrp="1" noRot="1" noMove="1" noResize="1"/>
                </p:cNvGrpSpPr>
                <p:nvPr userDrawn="1"/>
              </p:nvGrpSpPr>
              <p:grpSpPr>
                <a:xfrm>
                  <a:off x="5248227" y="5088575"/>
                  <a:ext cx="1160133" cy="88488"/>
                  <a:chOff x="5248227" y="4555175"/>
                  <a:chExt cx="1160133" cy="88488"/>
                </a:xfrm>
                <a:grpFill/>
              </p:grpSpPr>
              <p:sp>
                <p:nvSpPr>
                  <p:cNvPr id="134" name="Freeform 95">
                    <a:extLst>
                      <a:ext uri="{FF2B5EF4-FFF2-40B4-BE49-F238E27FC236}">
                        <a16:creationId xmlns:a16="http://schemas.microsoft.com/office/drawing/2014/main" id="{99112E3A-B653-6E83-929C-F8D7E17BEB22}"/>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95">
                    <a:extLst>
                      <a:ext uri="{FF2B5EF4-FFF2-40B4-BE49-F238E27FC236}">
                        <a16:creationId xmlns:a16="http://schemas.microsoft.com/office/drawing/2014/main" id="{80BEBF14-C85A-ABBA-6EB7-F6728D631DF3}"/>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95">
                    <a:extLst>
                      <a:ext uri="{FF2B5EF4-FFF2-40B4-BE49-F238E27FC236}">
                        <a16:creationId xmlns:a16="http://schemas.microsoft.com/office/drawing/2014/main" id="{A9249454-44B1-E5FF-4443-EE514C6C8BF9}"/>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4" name="Group 103">
                <a:extLst>
                  <a:ext uri="{FF2B5EF4-FFF2-40B4-BE49-F238E27FC236}">
                    <a16:creationId xmlns:a16="http://schemas.microsoft.com/office/drawing/2014/main" id="{86A3FCCF-E5C9-5CFB-92D5-29666BC8E26C}"/>
                  </a:ext>
                </a:extLst>
              </p:cNvPr>
              <p:cNvGrpSpPr>
                <a:grpSpLocks noGrp="1" noUngrp="1" noRot="1" noMove="1" noResize="1"/>
              </p:cNvGrpSpPr>
              <p:nvPr userDrawn="1"/>
            </p:nvGrpSpPr>
            <p:grpSpPr>
              <a:xfrm>
                <a:off x="5248227" y="5625150"/>
                <a:ext cx="1160133" cy="88488"/>
                <a:chOff x="5248227" y="4555175"/>
                <a:chExt cx="1160133" cy="88488"/>
              </a:xfrm>
              <a:grpFill/>
            </p:grpSpPr>
            <p:sp>
              <p:nvSpPr>
                <p:cNvPr id="129" name="Freeform 95">
                  <a:extLst>
                    <a:ext uri="{FF2B5EF4-FFF2-40B4-BE49-F238E27FC236}">
                      <a16:creationId xmlns:a16="http://schemas.microsoft.com/office/drawing/2014/main" id="{5BDC5FBA-13AB-A02A-A9BF-B135F5DEB484}"/>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95">
                  <a:extLst>
                    <a:ext uri="{FF2B5EF4-FFF2-40B4-BE49-F238E27FC236}">
                      <a16:creationId xmlns:a16="http://schemas.microsoft.com/office/drawing/2014/main" id="{5FF5580E-4289-A47A-0E6D-D9B10AE44C44}"/>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95">
                  <a:extLst>
                    <a:ext uri="{FF2B5EF4-FFF2-40B4-BE49-F238E27FC236}">
                      <a16:creationId xmlns:a16="http://schemas.microsoft.com/office/drawing/2014/main" id="{852B65D8-1EE6-EFAA-08C5-D94A45E437BA}"/>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5" name="Group 104">
                <a:extLst>
                  <a:ext uri="{FF2B5EF4-FFF2-40B4-BE49-F238E27FC236}">
                    <a16:creationId xmlns:a16="http://schemas.microsoft.com/office/drawing/2014/main" id="{F876361E-F420-E68D-4032-5119E72C720D}"/>
                  </a:ext>
                </a:extLst>
              </p:cNvPr>
              <p:cNvGrpSpPr>
                <a:grpSpLocks noGrp="1" noUngrp="1" noRot="1" noMove="1" noResize="1"/>
              </p:cNvGrpSpPr>
              <p:nvPr userDrawn="1"/>
            </p:nvGrpSpPr>
            <p:grpSpPr>
              <a:xfrm>
                <a:off x="5248227" y="6158550"/>
                <a:ext cx="1160133" cy="88488"/>
                <a:chOff x="5248227" y="4555175"/>
                <a:chExt cx="1160133" cy="88488"/>
              </a:xfrm>
              <a:grpFill/>
            </p:grpSpPr>
            <p:sp>
              <p:nvSpPr>
                <p:cNvPr id="126" name="Freeform 95">
                  <a:extLst>
                    <a:ext uri="{FF2B5EF4-FFF2-40B4-BE49-F238E27FC236}">
                      <a16:creationId xmlns:a16="http://schemas.microsoft.com/office/drawing/2014/main" id="{D5AD004C-FD0B-4E54-19B6-D78FD97298A1}"/>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95">
                  <a:extLst>
                    <a:ext uri="{FF2B5EF4-FFF2-40B4-BE49-F238E27FC236}">
                      <a16:creationId xmlns:a16="http://schemas.microsoft.com/office/drawing/2014/main" id="{E0449496-C02E-2BD9-3D7E-DDFCE235778E}"/>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95">
                  <a:extLst>
                    <a:ext uri="{FF2B5EF4-FFF2-40B4-BE49-F238E27FC236}">
                      <a16:creationId xmlns:a16="http://schemas.microsoft.com/office/drawing/2014/main" id="{67A9456C-4D90-73B4-176A-2DA2F57BA93E}"/>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38E5BD11-2D40-7765-EC1E-86D83B646097}"/>
                  </a:ext>
                </a:extLst>
              </p:cNvPr>
              <p:cNvGrpSpPr>
                <a:grpSpLocks noGrp="1" noUngrp="1" noRot="1" noMove="1" noResize="1"/>
              </p:cNvGrpSpPr>
              <p:nvPr userDrawn="1"/>
            </p:nvGrpSpPr>
            <p:grpSpPr>
              <a:xfrm>
                <a:off x="3644852" y="6158550"/>
                <a:ext cx="1160133" cy="88488"/>
                <a:chOff x="5248227" y="4555175"/>
                <a:chExt cx="1160133" cy="88488"/>
              </a:xfrm>
              <a:grpFill/>
            </p:grpSpPr>
            <p:sp>
              <p:nvSpPr>
                <p:cNvPr id="123" name="Freeform 95">
                  <a:extLst>
                    <a:ext uri="{FF2B5EF4-FFF2-40B4-BE49-F238E27FC236}">
                      <a16:creationId xmlns:a16="http://schemas.microsoft.com/office/drawing/2014/main" id="{0373E244-8EA9-5187-A209-FBC220B61110}"/>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95">
                  <a:extLst>
                    <a:ext uri="{FF2B5EF4-FFF2-40B4-BE49-F238E27FC236}">
                      <a16:creationId xmlns:a16="http://schemas.microsoft.com/office/drawing/2014/main" id="{5C276027-A3DE-0F81-970D-9DEE9B6F6B48}"/>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95">
                  <a:extLst>
                    <a:ext uri="{FF2B5EF4-FFF2-40B4-BE49-F238E27FC236}">
                      <a16:creationId xmlns:a16="http://schemas.microsoft.com/office/drawing/2014/main" id="{74111488-B421-C8A9-8A9F-9F64F447965F}"/>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7" name="Group 106">
                <a:extLst>
                  <a:ext uri="{FF2B5EF4-FFF2-40B4-BE49-F238E27FC236}">
                    <a16:creationId xmlns:a16="http://schemas.microsoft.com/office/drawing/2014/main" id="{0319E8BD-5827-1B7C-DED0-C159FE02D5D4}"/>
                  </a:ext>
                </a:extLst>
              </p:cNvPr>
              <p:cNvGrpSpPr>
                <a:grpSpLocks noGrp="1" noUngrp="1" noRot="1" noMove="1" noResize="1"/>
              </p:cNvGrpSpPr>
              <p:nvPr userDrawn="1"/>
            </p:nvGrpSpPr>
            <p:grpSpPr>
              <a:xfrm>
                <a:off x="6851602" y="6158550"/>
                <a:ext cx="1160133" cy="88488"/>
                <a:chOff x="5248227" y="4555175"/>
                <a:chExt cx="1160133" cy="88488"/>
              </a:xfrm>
              <a:grpFill/>
            </p:grpSpPr>
            <p:sp>
              <p:nvSpPr>
                <p:cNvPr id="120" name="Freeform 95">
                  <a:extLst>
                    <a:ext uri="{FF2B5EF4-FFF2-40B4-BE49-F238E27FC236}">
                      <a16:creationId xmlns:a16="http://schemas.microsoft.com/office/drawing/2014/main" id="{06901634-77EC-14B3-25CA-58ED70EE101A}"/>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95">
                  <a:extLst>
                    <a:ext uri="{FF2B5EF4-FFF2-40B4-BE49-F238E27FC236}">
                      <a16:creationId xmlns:a16="http://schemas.microsoft.com/office/drawing/2014/main" id="{B878CA0B-FDEE-814D-1E0D-2CB2598895F1}"/>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95">
                  <a:extLst>
                    <a:ext uri="{FF2B5EF4-FFF2-40B4-BE49-F238E27FC236}">
                      <a16:creationId xmlns:a16="http://schemas.microsoft.com/office/drawing/2014/main" id="{A1504770-ACF9-9328-F6B3-5238276AFB81}"/>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8" name="Group 107">
                <a:extLst>
                  <a:ext uri="{FF2B5EF4-FFF2-40B4-BE49-F238E27FC236}">
                    <a16:creationId xmlns:a16="http://schemas.microsoft.com/office/drawing/2014/main" id="{258F2153-F5F5-BFBA-005C-883F7D6498F9}"/>
                  </a:ext>
                </a:extLst>
              </p:cNvPr>
              <p:cNvGrpSpPr>
                <a:grpSpLocks noGrp="1" noUngrp="1" noRot="1" noMove="1" noResize="1"/>
              </p:cNvGrpSpPr>
              <p:nvPr userDrawn="1"/>
            </p:nvGrpSpPr>
            <p:grpSpPr>
              <a:xfrm>
                <a:off x="5248227" y="6695125"/>
                <a:ext cx="1160133" cy="88488"/>
                <a:chOff x="5248227" y="4555175"/>
                <a:chExt cx="1160133" cy="88488"/>
              </a:xfrm>
              <a:grpFill/>
            </p:grpSpPr>
            <p:sp>
              <p:nvSpPr>
                <p:cNvPr id="117" name="Freeform 95">
                  <a:extLst>
                    <a:ext uri="{FF2B5EF4-FFF2-40B4-BE49-F238E27FC236}">
                      <a16:creationId xmlns:a16="http://schemas.microsoft.com/office/drawing/2014/main" id="{4B982961-C166-4291-A4B6-E967550E468D}"/>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95">
                  <a:extLst>
                    <a:ext uri="{FF2B5EF4-FFF2-40B4-BE49-F238E27FC236}">
                      <a16:creationId xmlns:a16="http://schemas.microsoft.com/office/drawing/2014/main" id="{B56BA18A-D0E2-DFB5-7C97-0DE4AEDC3503}"/>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95">
                  <a:extLst>
                    <a:ext uri="{FF2B5EF4-FFF2-40B4-BE49-F238E27FC236}">
                      <a16:creationId xmlns:a16="http://schemas.microsoft.com/office/drawing/2014/main" id="{E9CAFB6F-0338-B155-7ECF-9890D5E9203F}"/>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 name="Group 108">
                <a:extLst>
                  <a:ext uri="{FF2B5EF4-FFF2-40B4-BE49-F238E27FC236}">
                    <a16:creationId xmlns:a16="http://schemas.microsoft.com/office/drawing/2014/main" id="{AF87F757-CA1D-651E-FA37-71C80A1F2101}"/>
                  </a:ext>
                </a:extLst>
              </p:cNvPr>
              <p:cNvGrpSpPr>
                <a:grpSpLocks noGrp="1" noUngrp="1" noRot="1" noMove="1" noResize="1"/>
              </p:cNvGrpSpPr>
              <p:nvPr userDrawn="1"/>
            </p:nvGrpSpPr>
            <p:grpSpPr>
              <a:xfrm>
                <a:off x="3644852" y="6695125"/>
                <a:ext cx="1160133" cy="88488"/>
                <a:chOff x="5248227" y="4555175"/>
                <a:chExt cx="1160133" cy="88488"/>
              </a:xfrm>
              <a:grpFill/>
            </p:grpSpPr>
            <p:sp>
              <p:nvSpPr>
                <p:cNvPr id="114" name="Freeform 95">
                  <a:extLst>
                    <a:ext uri="{FF2B5EF4-FFF2-40B4-BE49-F238E27FC236}">
                      <a16:creationId xmlns:a16="http://schemas.microsoft.com/office/drawing/2014/main" id="{3F320403-C1C7-C547-DB0A-4C766D201607}"/>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95">
                  <a:extLst>
                    <a:ext uri="{FF2B5EF4-FFF2-40B4-BE49-F238E27FC236}">
                      <a16:creationId xmlns:a16="http://schemas.microsoft.com/office/drawing/2014/main" id="{F51B1890-A597-E989-72CB-378BF6383C84}"/>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95">
                  <a:extLst>
                    <a:ext uri="{FF2B5EF4-FFF2-40B4-BE49-F238E27FC236}">
                      <a16:creationId xmlns:a16="http://schemas.microsoft.com/office/drawing/2014/main" id="{FB8B0B52-4B52-E5BF-6783-477047F294EE}"/>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0" name="Group 109">
                <a:extLst>
                  <a:ext uri="{FF2B5EF4-FFF2-40B4-BE49-F238E27FC236}">
                    <a16:creationId xmlns:a16="http://schemas.microsoft.com/office/drawing/2014/main" id="{DD8854DC-4835-262A-C87B-3BC498654557}"/>
                  </a:ext>
                </a:extLst>
              </p:cNvPr>
              <p:cNvGrpSpPr>
                <a:grpSpLocks noGrp="1" noUngrp="1" noRot="1" noMove="1" noResize="1"/>
              </p:cNvGrpSpPr>
              <p:nvPr userDrawn="1"/>
            </p:nvGrpSpPr>
            <p:grpSpPr>
              <a:xfrm>
                <a:off x="6851602" y="6695125"/>
                <a:ext cx="1160133" cy="88488"/>
                <a:chOff x="5248227" y="4555175"/>
                <a:chExt cx="1160133" cy="88488"/>
              </a:xfrm>
              <a:grpFill/>
            </p:grpSpPr>
            <p:sp>
              <p:nvSpPr>
                <p:cNvPr id="111" name="Freeform 95">
                  <a:extLst>
                    <a:ext uri="{FF2B5EF4-FFF2-40B4-BE49-F238E27FC236}">
                      <a16:creationId xmlns:a16="http://schemas.microsoft.com/office/drawing/2014/main" id="{104901B7-9060-4042-3B38-15B0BE7BEAB3}"/>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95">
                  <a:extLst>
                    <a:ext uri="{FF2B5EF4-FFF2-40B4-BE49-F238E27FC236}">
                      <a16:creationId xmlns:a16="http://schemas.microsoft.com/office/drawing/2014/main" id="{A9CF4390-90B7-29AD-76F9-BF4E761C58E6}"/>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95">
                  <a:extLst>
                    <a:ext uri="{FF2B5EF4-FFF2-40B4-BE49-F238E27FC236}">
                      <a16:creationId xmlns:a16="http://schemas.microsoft.com/office/drawing/2014/main" id="{4D8EE31D-367D-1FEC-42D4-8521918D3B7C}"/>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pic>
        <p:nvPicPr>
          <p:cNvPr id="6" name="Picture 5">
            <a:extLst>
              <a:ext uri="{FF2B5EF4-FFF2-40B4-BE49-F238E27FC236}">
                <a16:creationId xmlns:a16="http://schemas.microsoft.com/office/drawing/2014/main" id="{B0EAE7BB-4B16-7F82-8046-68984563BA47}"/>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6363805" y="410755"/>
            <a:ext cx="4680000" cy="4680000"/>
          </a:xfrm>
          <a:prstGeom prst="rect">
            <a:avLst/>
          </a:prstGeom>
        </p:spPr>
      </p:pic>
      <p:sp>
        <p:nvSpPr>
          <p:cNvPr id="12" name="Text Placeholder 2">
            <a:extLst>
              <a:ext uri="{FF2B5EF4-FFF2-40B4-BE49-F238E27FC236}">
                <a16:creationId xmlns:a16="http://schemas.microsoft.com/office/drawing/2014/main" id="{2F83CEE2-D054-32A0-6C60-6A2F9D650ADE}"/>
              </a:ext>
            </a:extLst>
          </p:cNvPr>
          <p:cNvSpPr>
            <a:spLocks noGrp="1"/>
          </p:cNvSpPr>
          <p:nvPr>
            <p:ph type="body" sz="quarter" idx="13" hasCustomPrompt="1"/>
          </p:nvPr>
        </p:nvSpPr>
        <p:spPr>
          <a:xfrm>
            <a:off x="358776" y="1327356"/>
            <a:ext cx="4676774" cy="396000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tx2"/>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tx2"/>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4" name="Legal dynamic" descr="{&quot;templafy&quot;:{&quot;id&quot;:&quot;12a8bfd8-37ca-460b-bc25-3c955498d122&quot;}}" title="Form.Cigna_Confidentiality.EvernorthConfidentiality">
            <a:extLst>
              <a:ext uri="{FF2B5EF4-FFF2-40B4-BE49-F238E27FC236}">
                <a16:creationId xmlns:a16="http://schemas.microsoft.com/office/drawing/2014/main" id="{7551AE01-EE7C-0BFC-DDDB-F7BD048FCB81}"/>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02F3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f41adea5-c5dd-49f4-896d-14007914c556&quot;}}" title="Form.Cigna_Confidentiality.Cigna_confidentiality">
            <a:extLst>
              <a:ext uri="{FF2B5EF4-FFF2-40B4-BE49-F238E27FC236}">
                <a16:creationId xmlns:a16="http://schemas.microsoft.com/office/drawing/2014/main" id="{81FC5392-C6AA-30C1-C596-4C3C7B220DC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02F3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dbff8641-fea9-4964-a82c-663479894bfa&quot;}}">
            <a:extLst>
              <a:ext uri="{FF2B5EF4-FFF2-40B4-BE49-F238E27FC236}">
                <a16:creationId xmlns:a16="http://schemas.microsoft.com/office/drawing/2014/main" id="{1D9672A1-5371-FB56-BFA9-B659E333E3CB}"/>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7" name="Date Placeholder 5">
            <a:extLst>
              <a:ext uri="{FF2B5EF4-FFF2-40B4-BE49-F238E27FC236}">
                <a16:creationId xmlns:a16="http://schemas.microsoft.com/office/drawing/2014/main" id="{E33C1640-2688-F0C2-F687-588CB3D62857}"/>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645104341"/>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 Quote">
    <p:bg>
      <p:bgPr>
        <a:solidFill>
          <a:srgbClr val="035C67"/>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225" name="Group 224">
            <a:extLst>
              <a:ext uri="{FF2B5EF4-FFF2-40B4-BE49-F238E27FC236}">
                <a16:creationId xmlns:a16="http://schemas.microsoft.com/office/drawing/2014/main" id="{404F3294-639D-CC9F-6F5E-E0B85C19FFCF}"/>
              </a:ext>
            </a:extLst>
          </p:cNvPr>
          <p:cNvGrpSpPr>
            <a:grpSpLocks noGrp="1" noUngrp="1" noRot="1" noMove="1" noResize="1"/>
          </p:cNvGrpSpPr>
          <p:nvPr userDrawn="1"/>
        </p:nvGrpSpPr>
        <p:grpSpPr>
          <a:xfrm>
            <a:off x="3538575" y="4314726"/>
            <a:ext cx="8681999" cy="2543274"/>
            <a:chOff x="3538575" y="4314726"/>
            <a:chExt cx="8681999" cy="2543274"/>
          </a:xfrm>
        </p:grpSpPr>
        <p:sp>
          <p:nvSpPr>
            <p:cNvPr id="226" name="Freeform: Shape 225">
              <a:extLst>
                <a:ext uri="{FF2B5EF4-FFF2-40B4-BE49-F238E27FC236}">
                  <a16:creationId xmlns:a16="http://schemas.microsoft.com/office/drawing/2014/main" id="{E7E48DBE-B7F2-C1F5-0C16-DBA055375DAA}"/>
                </a:ext>
              </a:extLst>
            </p:cNvPr>
            <p:cNvSpPr>
              <a:spLocks noGrp="1" noRot="1" noMove="1" noResize="1" noEditPoints="1" noAdjustHandles="1" noChangeArrowheads="1" noChangeShapeType="1"/>
            </p:cNvSpPr>
            <p:nvPr userDrawn="1"/>
          </p:nvSpPr>
          <p:spPr>
            <a:xfrm>
              <a:off x="9086175" y="4314726"/>
              <a:ext cx="3134399" cy="2543274"/>
            </a:xfrm>
            <a:custGeom>
              <a:avLst/>
              <a:gdLst>
                <a:gd name="connsiteX0" fmla="*/ 1914660 w 3134399"/>
                <a:gd name="connsiteY0" fmla="*/ 0 h 2543274"/>
                <a:gd name="connsiteX1" fmla="*/ 2871990 w 3134399"/>
                <a:gd name="connsiteY1" fmla="*/ 0 h 2543274"/>
                <a:gd name="connsiteX2" fmla="*/ 3118253 w 3134399"/>
                <a:gd name="connsiteY2" fmla="*/ 116098 h 2543274"/>
                <a:gd name="connsiteX3" fmla="*/ 3134399 w 3134399"/>
                <a:gd name="connsiteY3" fmla="*/ 142718 h 2543274"/>
                <a:gd name="connsiteX4" fmla="*/ 3134399 w 3134399"/>
                <a:gd name="connsiteY4" fmla="*/ 2543274 h 2543274"/>
                <a:gd name="connsiteX5" fmla="*/ 0 w 3134399"/>
                <a:gd name="connsiteY5" fmla="*/ 2543274 h 2543274"/>
                <a:gd name="connsiteX6" fmla="*/ 0 w 3134399"/>
                <a:gd name="connsiteY6" fmla="*/ 1914659 h 2543274"/>
                <a:gd name="connsiteX7" fmla="*/ 319110 w 3134399"/>
                <a:gd name="connsiteY7" fmla="*/ 1595549 h 2543274"/>
                <a:gd name="connsiteX8" fmla="*/ 1356217 w 3134399"/>
                <a:gd name="connsiteY8" fmla="*/ 1595549 h 2543274"/>
                <a:gd name="connsiteX9" fmla="*/ 1595550 w 3134399"/>
                <a:gd name="connsiteY9" fmla="*/ 1356217 h 2543274"/>
                <a:gd name="connsiteX10" fmla="*/ 1595550 w 3134399"/>
                <a:gd name="connsiteY10" fmla="*/ 319110 h 2543274"/>
                <a:gd name="connsiteX11" fmla="*/ 1914660 w 3134399"/>
                <a:gd name="connsiteY11"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4399" h="2543274">
                  <a:moveTo>
                    <a:pt x="1914660" y="0"/>
                  </a:moveTo>
                  <a:lnTo>
                    <a:pt x="2871990" y="0"/>
                  </a:lnTo>
                  <a:cubicBezTo>
                    <a:pt x="2971163" y="0"/>
                    <a:pt x="3059735" y="45184"/>
                    <a:pt x="3118253" y="116098"/>
                  </a:cubicBezTo>
                  <a:lnTo>
                    <a:pt x="3134399" y="142718"/>
                  </a:lnTo>
                  <a:lnTo>
                    <a:pt x="313439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227" name="Freeform 17">
              <a:extLst>
                <a:ext uri="{FF2B5EF4-FFF2-40B4-BE49-F238E27FC236}">
                  <a16:creationId xmlns:a16="http://schemas.microsoft.com/office/drawing/2014/main" id="{AE4B2A46-9532-584D-7556-FCA12806DCC7}"/>
                </a:ext>
              </a:extLst>
            </p:cNvPr>
            <p:cNvSpPr>
              <a:spLocks noGrp="1" noRot="1" noMove="1" noResize="1" noEditPoints="1" noAdjustHandles="1" noChangeArrowheads="1" noChangeShapeType="1"/>
            </p:cNvSpPr>
            <p:nvPr userDrawn="1"/>
          </p:nvSpPr>
          <p:spPr>
            <a:xfrm>
              <a:off x="3538575" y="4314726"/>
              <a:ext cx="4752000" cy="2543274"/>
            </a:xfrm>
            <a:custGeom>
              <a:avLst/>
              <a:gdLst>
                <a:gd name="connsiteX0" fmla="*/ 1914660 w 4786649"/>
                <a:gd name="connsiteY0" fmla="*/ 0 h 2543274"/>
                <a:gd name="connsiteX1" fmla="*/ 2871990 w 4786649"/>
                <a:gd name="connsiteY1" fmla="*/ 0 h 2543274"/>
                <a:gd name="connsiteX2" fmla="*/ 3191100 w 4786649"/>
                <a:gd name="connsiteY2" fmla="*/ 319110 h 2543274"/>
                <a:gd name="connsiteX3" fmla="*/ 3191100 w 4786649"/>
                <a:gd name="connsiteY3" fmla="*/ 1356217 h 2543274"/>
                <a:gd name="connsiteX4" fmla="*/ 3430432 w 4786649"/>
                <a:gd name="connsiteY4" fmla="*/ 1595549 h 2543274"/>
                <a:gd name="connsiteX5" fmla="*/ 4467539 w 4786649"/>
                <a:gd name="connsiteY5" fmla="*/ 1595549 h 2543274"/>
                <a:gd name="connsiteX6" fmla="*/ 4786649 w 4786649"/>
                <a:gd name="connsiteY6" fmla="*/ 1914659 h 2543274"/>
                <a:gd name="connsiteX7" fmla="*/ 4786649 w 4786649"/>
                <a:gd name="connsiteY7" fmla="*/ 2543274 h 2543274"/>
                <a:gd name="connsiteX8" fmla="*/ 0 w 4786649"/>
                <a:gd name="connsiteY8" fmla="*/ 2543274 h 2543274"/>
                <a:gd name="connsiteX9" fmla="*/ 0 w 4786649"/>
                <a:gd name="connsiteY9" fmla="*/ 1914659 h 2543274"/>
                <a:gd name="connsiteX10" fmla="*/ 319110 w 4786649"/>
                <a:gd name="connsiteY10" fmla="*/ 1595549 h 2543274"/>
                <a:gd name="connsiteX11" fmla="*/ 1356217 w 4786649"/>
                <a:gd name="connsiteY11" fmla="*/ 1595549 h 2543274"/>
                <a:gd name="connsiteX12" fmla="*/ 1595550 w 4786649"/>
                <a:gd name="connsiteY12" fmla="*/ 1356217 h 2543274"/>
                <a:gd name="connsiteX13" fmla="*/ 1595550 w 4786649"/>
                <a:gd name="connsiteY13" fmla="*/ 319110 h 2543274"/>
                <a:gd name="connsiteX14" fmla="*/ 1914660 w 4786649"/>
                <a:gd name="connsiteY14"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6649" h="2543274">
                  <a:moveTo>
                    <a:pt x="1914660" y="0"/>
                  </a:moveTo>
                  <a:lnTo>
                    <a:pt x="2871990" y="0"/>
                  </a:lnTo>
                  <a:cubicBezTo>
                    <a:pt x="3048298" y="0"/>
                    <a:pt x="3191100" y="142802"/>
                    <a:pt x="3191100" y="319110"/>
                  </a:cubicBezTo>
                  <a:lnTo>
                    <a:pt x="3191100" y="1356217"/>
                  </a:lnTo>
                  <a:cubicBezTo>
                    <a:pt x="3191100" y="1488448"/>
                    <a:pt x="3298201" y="1595549"/>
                    <a:pt x="3430432" y="1595549"/>
                  </a:cubicBezTo>
                  <a:lnTo>
                    <a:pt x="4467539" y="1595549"/>
                  </a:lnTo>
                  <a:cubicBezTo>
                    <a:pt x="4643848" y="1595549"/>
                    <a:pt x="4786649" y="1738351"/>
                    <a:pt x="4786649" y="1914659"/>
                  </a:cubicBezTo>
                  <a:lnTo>
                    <a:pt x="478664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nvGrpSpPr>
            <p:cNvPr id="228" name="Group 227">
              <a:extLst>
                <a:ext uri="{FF2B5EF4-FFF2-40B4-BE49-F238E27FC236}">
                  <a16:creationId xmlns:a16="http://schemas.microsoft.com/office/drawing/2014/main" id="{E0F69E36-BBB9-C87A-6958-8EF846A06F90}"/>
                </a:ext>
              </a:extLst>
            </p:cNvPr>
            <p:cNvGrpSpPr>
              <a:grpSpLocks noGrp="1" noUngrp="1" noRot="1" noMove="1" noResize="1"/>
            </p:cNvGrpSpPr>
            <p:nvPr userDrawn="1"/>
          </p:nvGrpSpPr>
          <p:grpSpPr>
            <a:xfrm>
              <a:off x="3731134" y="4555175"/>
              <a:ext cx="4366883" cy="2228438"/>
              <a:chOff x="3644852" y="4555175"/>
              <a:chExt cx="4366883" cy="2228438"/>
            </a:xfrm>
            <a:solidFill>
              <a:schemeClr val="accent1"/>
            </a:solidFill>
          </p:grpSpPr>
          <p:grpSp>
            <p:nvGrpSpPr>
              <p:cNvPr id="229" name="Group 228">
                <a:extLst>
                  <a:ext uri="{FF2B5EF4-FFF2-40B4-BE49-F238E27FC236}">
                    <a16:creationId xmlns:a16="http://schemas.microsoft.com/office/drawing/2014/main" id="{F659F43F-C959-613E-182B-FFD772260289}"/>
                  </a:ext>
                </a:extLst>
              </p:cNvPr>
              <p:cNvGrpSpPr>
                <a:grpSpLocks noGrp="1" noUngrp="1" noRot="1" noMove="1" noResize="1"/>
              </p:cNvGrpSpPr>
              <p:nvPr userDrawn="1"/>
            </p:nvGrpSpPr>
            <p:grpSpPr>
              <a:xfrm>
                <a:off x="5248227" y="4555175"/>
                <a:ext cx="1160133" cy="621888"/>
                <a:chOff x="5248227" y="4555175"/>
                <a:chExt cx="1160133" cy="621888"/>
              </a:xfrm>
              <a:grpFill/>
            </p:grpSpPr>
            <p:grpSp>
              <p:nvGrpSpPr>
                <p:cNvPr id="258" name="Group 257">
                  <a:extLst>
                    <a:ext uri="{FF2B5EF4-FFF2-40B4-BE49-F238E27FC236}">
                      <a16:creationId xmlns:a16="http://schemas.microsoft.com/office/drawing/2014/main" id="{2FCBF432-ADC6-712A-0DE9-ED920A3D6E5E}"/>
                    </a:ext>
                  </a:extLst>
                </p:cNvPr>
                <p:cNvGrpSpPr>
                  <a:grpSpLocks noGrp="1" noUngrp="1" noRot="1" noMove="1" noResize="1"/>
                </p:cNvGrpSpPr>
                <p:nvPr userDrawn="1"/>
              </p:nvGrpSpPr>
              <p:grpSpPr>
                <a:xfrm>
                  <a:off x="5248227" y="4555175"/>
                  <a:ext cx="1160133" cy="88488"/>
                  <a:chOff x="5248227" y="4555175"/>
                  <a:chExt cx="1160133" cy="88488"/>
                </a:xfrm>
                <a:grpFill/>
              </p:grpSpPr>
              <p:sp>
                <p:nvSpPr>
                  <p:cNvPr id="263" name="Freeform 95">
                    <a:extLst>
                      <a:ext uri="{FF2B5EF4-FFF2-40B4-BE49-F238E27FC236}">
                        <a16:creationId xmlns:a16="http://schemas.microsoft.com/office/drawing/2014/main" id="{2A512052-E0A8-1514-87F3-7CCC1FF68C1E}"/>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95">
                    <a:extLst>
                      <a:ext uri="{FF2B5EF4-FFF2-40B4-BE49-F238E27FC236}">
                        <a16:creationId xmlns:a16="http://schemas.microsoft.com/office/drawing/2014/main" id="{07037337-60D3-F5A8-D6FB-2B5DA409393C}"/>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95">
                    <a:extLst>
                      <a:ext uri="{FF2B5EF4-FFF2-40B4-BE49-F238E27FC236}">
                        <a16:creationId xmlns:a16="http://schemas.microsoft.com/office/drawing/2014/main" id="{AA5A727E-6522-5F4E-A9A6-DA0144A4AEAD}"/>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9" name="Group 258">
                  <a:extLst>
                    <a:ext uri="{FF2B5EF4-FFF2-40B4-BE49-F238E27FC236}">
                      <a16:creationId xmlns:a16="http://schemas.microsoft.com/office/drawing/2014/main" id="{BE2A9780-D32F-4672-DAF0-56140C76225E}"/>
                    </a:ext>
                  </a:extLst>
                </p:cNvPr>
                <p:cNvGrpSpPr>
                  <a:grpSpLocks noGrp="1" noUngrp="1" noRot="1" noMove="1" noResize="1"/>
                </p:cNvGrpSpPr>
                <p:nvPr userDrawn="1"/>
              </p:nvGrpSpPr>
              <p:grpSpPr>
                <a:xfrm>
                  <a:off x="5248227" y="5088575"/>
                  <a:ext cx="1160133" cy="88488"/>
                  <a:chOff x="5248227" y="4555175"/>
                  <a:chExt cx="1160133" cy="88488"/>
                </a:xfrm>
                <a:grpFill/>
              </p:grpSpPr>
              <p:sp>
                <p:nvSpPr>
                  <p:cNvPr id="260" name="Freeform 95">
                    <a:extLst>
                      <a:ext uri="{FF2B5EF4-FFF2-40B4-BE49-F238E27FC236}">
                        <a16:creationId xmlns:a16="http://schemas.microsoft.com/office/drawing/2014/main" id="{10D3A7F8-2FDB-0F90-A385-93BF53B3B693}"/>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95">
                    <a:extLst>
                      <a:ext uri="{FF2B5EF4-FFF2-40B4-BE49-F238E27FC236}">
                        <a16:creationId xmlns:a16="http://schemas.microsoft.com/office/drawing/2014/main" id="{09CECC33-2783-2CAD-4C0E-8D744A3C2A2B}"/>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95">
                    <a:extLst>
                      <a:ext uri="{FF2B5EF4-FFF2-40B4-BE49-F238E27FC236}">
                        <a16:creationId xmlns:a16="http://schemas.microsoft.com/office/drawing/2014/main" id="{97889603-538D-9125-FF14-EF0DDD326072}"/>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0" name="Group 229">
                <a:extLst>
                  <a:ext uri="{FF2B5EF4-FFF2-40B4-BE49-F238E27FC236}">
                    <a16:creationId xmlns:a16="http://schemas.microsoft.com/office/drawing/2014/main" id="{DBC48B89-53B5-AAC0-177F-70AB6EA45377}"/>
                  </a:ext>
                </a:extLst>
              </p:cNvPr>
              <p:cNvGrpSpPr>
                <a:grpSpLocks noGrp="1" noUngrp="1" noRot="1" noMove="1" noResize="1"/>
              </p:cNvGrpSpPr>
              <p:nvPr userDrawn="1"/>
            </p:nvGrpSpPr>
            <p:grpSpPr>
              <a:xfrm>
                <a:off x="5248227" y="5625150"/>
                <a:ext cx="1160133" cy="88488"/>
                <a:chOff x="5248227" y="4555175"/>
                <a:chExt cx="1160133" cy="88488"/>
              </a:xfrm>
              <a:grpFill/>
            </p:grpSpPr>
            <p:sp>
              <p:nvSpPr>
                <p:cNvPr id="255" name="Freeform 95">
                  <a:extLst>
                    <a:ext uri="{FF2B5EF4-FFF2-40B4-BE49-F238E27FC236}">
                      <a16:creationId xmlns:a16="http://schemas.microsoft.com/office/drawing/2014/main" id="{A7CB98D1-6755-7CBF-D6EF-49F5366C284D}"/>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95">
                  <a:extLst>
                    <a:ext uri="{FF2B5EF4-FFF2-40B4-BE49-F238E27FC236}">
                      <a16:creationId xmlns:a16="http://schemas.microsoft.com/office/drawing/2014/main" id="{3E39FE8E-A9C2-2F16-742B-DEE78396B89F}"/>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95">
                  <a:extLst>
                    <a:ext uri="{FF2B5EF4-FFF2-40B4-BE49-F238E27FC236}">
                      <a16:creationId xmlns:a16="http://schemas.microsoft.com/office/drawing/2014/main" id="{AE61F9B3-4C60-23ED-BBB3-169492F3E670}"/>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1" name="Group 230">
                <a:extLst>
                  <a:ext uri="{FF2B5EF4-FFF2-40B4-BE49-F238E27FC236}">
                    <a16:creationId xmlns:a16="http://schemas.microsoft.com/office/drawing/2014/main" id="{3B3C6777-4646-B083-DC8F-CA0A05F0C6CA}"/>
                  </a:ext>
                </a:extLst>
              </p:cNvPr>
              <p:cNvGrpSpPr>
                <a:grpSpLocks noGrp="1" noUngrp="1" noRot="1" noMove="1" noResize="1"/>
              </p:cNvGrpSpPr>
              <p:nvPr userDrawn="1"/>
            </p:nvGrpSpPr>
            <p:grpSpPr>
              <a:xfrm>
                <a:off x="5248227" y="6158550"/>
                <a:ext cx="1160133" cy="88488"/>
                <a:chOff x="5248227" y="4555175"/>
                <a:chExt cx="1160133" cy="88488"/>
              </a:xfrm>
              <a:grpFill/>
            </p:grpSpPr>
            <p:sp>
              <p:nvSpPr>
                <p:cNvPr id="252" name="Freeform 95">
                  <a:extLst>
                    <a:ext uri="{FF2B5EF4-FFF2-40B4-BE49-F238E27FC236}">
                      <a16:creationId xmlns:a16="http://schemas.microsoft.com/office/drawing/2014/main" id="{06A760C2-9F36-266D-2091-68E821C5D3DA}"/>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95">
                  <a:extLst>
                    <a:ext uri="{FF2B5EF4-FFF2-40B4-BE49-F238E27FC236}">
                      <a16:creationId xmlns:a16="http://schemas.microsoft.com/office/drawing/2014/main" id="{E3BBBD4A-85FA-A011-201B-ACF46AE64EA1}"/>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95">
                  <a:extLst>
                    <a:ext uri="{FF2B5EF4-FFF2-40B4-BE49-F238E27FC236}">
                      <a16:creationId xmlns:a16="http://schemas.microsoft.com/office/drawing/2014/main" id="{FACDD09E-DEF8-F797-C83E-DC26C5864EED}"/>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2" name="Group 231">
                <a:extLst>
                  <a:ext uri="{FF2B5EF4-FFF2-40B4-BE49-F238E27FC236}">
                    <a16:creationId xmlns:a16="http://schemas.microsoft.com/office/drawing/2014/main" id="{A3AB5505-411A-11BC-2FE9-60161371333B}"/>
                  </a:ext>
                </a:extLst>
              </p:cNvPr>
              <p:cNvGrpSpPr>
                <a:grpSpLocks noGrp="1" noUngrp="1" noRot="1" noMove="1" noResize="1"/>
              </p:cNvGrpSpPr>
              <p:nvPr userDrawn="1"/>
            </p:nvGrpSpPr>
            <p:grpSpPr>
              <a:xfrm>
                <a:off x="3644852" y="6158550"/>
                <a:ext cx="1160133" cy="88488"/>
                <a:chOff x="5248227" y="4555175"/>
                <a:chExt cx="1160133" cy="88488"/>
              </a:xfrm>
              <a:grpFill/>
            </p:grpSpPr>
            <p:sp>
              <p:nvSpPr>
                <p:cNvPr id="249" name="Freeform 95">
                  <a:extLst>
                    <a:ext uri="{FF2B5EF4-FFF2-40B4-BE49-F238E27FC236}">
                      <a16:creationId xmlns:a16="http://schemas.microsoft.com/office/drawing/2014/main" id="{C16051EC-F038-1ADF-8F60-95E33FF86CA8}"/>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5">
                  <a:extLst>
                    <a:ext uri="{FF2B5EF4-FFF2-40B4-BE49-F238E27FC236}">
                      <a16:creationId xmlns:a16="http://schemas.microsoft.com/office/drawing/2014/main" id="{0BBA8DED-ACB9-FE7B-E0EA-27BBD38FAE65}"/>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95">
                  <a:extLst>
                    <a:ext uri="{FF2B5EF4-FFF2-40B4-BE49-F238E27FC236}">
                      <a16:creationId xmlns:a16="http://schemas.microsoft.com/office/drawing/2014/main" id="{E8BCE5E5-D023-8194-3E47-E85B038E3422}"/>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3" name="Group 232">
                <a:extLst>
                  <a:ext uri="{FF2B5EF4-FFF2-40B4-BE49-F238E27FC236}">
                    <a16:creationId xmlns:a16="http://schemas.microsoft.com/office/drawing/2014/main" id="{E7B57EBA-2EBC-C294-1EAA-97EA3886155D}"/>
                  </a:ext>
                </a:extLst>
              </p:cNvPr>
              <p:cNvGrpSpPr>
                <a:grpSpLocks noGrp="1" noUngrp="1" noRot="1" noMove="1" noResize="1"/>
              </p:cNvGrpSpPr>
              <p:nvPr userDrawn="1"/>
            </p:nvGrpSpPr>
            <p:grpSpPr>
              <a:xfrm>
                <a:off x="6851602" y="6158550"/>
                <a:ext cx="1160133" cy="88488"/>
                <a:chOff x="5248227" y="4555175"/>
                <a:chExt cx="1160133" cy="88488"/>
              </a:xfrm>
              <a:grpFill/>
            </p:grpSpPr>
            <p:sp>
              <p:nvSpPr>
                <p:cNvPr id="246" name="Freeform 95">
                  <a:extLst>
                    <a:ext uri="{FF2B5EF4-FFF2-40B4-BE49-F238E27FC236}">
                      <a16:creationId xmlns:a16="http://schemas.microsoft.com/office/drawing/2014/main" id="{E0F39A3E-A641-47FA-EA8B-382D228022F7}"/>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5">
                  <a:extLst>
                    <a:ext uri="{FF2B5EF4-FFF2-40B4-BE49-F238E27FC236}">
                      <a16:creationId xmlns:a16="http://schemas.microsoft.com/office/drawing/2014/main" id="{F51D8229-49CA-C733-D258-FC5686153023}"/>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5">
                  <a:extLst>
                    <a:ext uri="{FF2B5EF4-FFF2-40B4-BE49-F238E27FC236}">
                      <a16:creationId xmlns:a16="http://schemas.microsoft.com/office/drawing/2014/main" id="{751E08E4-7114-3938-0C71-6BC2E52BD9F9}"/>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4" name="Group 233">
                <a:extLst>
                  <a:ext uri="{FF2B5EF4-FFF2-40B4-BE49-F238E27FC236}">
                    <a16:creationId xmlns:a16="http://schemas.microsoft.com/office/drawing/2014/main" id="{F30EE37F-E554-C657-38E4-EE5DB2BB95B5}"/>
                  </a:ext>
                </a:extLst>
              </p:cNvPr>
              <p:cNvGrpSpPr>
                <a:grpSpLocks noGrp="1" noUngrp="1" noRot="1" noMove="1" noResize="1"/>
              </p:cNvGrpSpPr>
              <p:nvPr userDrawn="1"/>
            </p:nvGrpSpPr>
            <p:grpSpPr>
              <a:xfrm>
                <a:off x="5248227" y="6695125"/>
                <a:ext cx="1160133" cy="88488"/>
                <a:chOff x="5248227" y="4555175"/>
                <a:chExt cx="1160133" cy="88488"/>
              </a:xfrm>
              <a:grpFill/>
            </p:grpSpPr>
            <p:sp>
              <p:nvSpPr>
                <p:cNvPr id="243" name="Freeform 95">
                  <a:extLst>
                    <a:ext uri="{FF2B5EF4-FFF2-40B4-BE49-F238E27FC236}">
                      <a16:creationId xmlns:a16="http://schemas.microsoft.com/office/drawing/2014/main" id="{D1E4AE13-5AA8-4726-DAE7-848749E6BDB9}"/>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95">
                  <a:extLst>
                    <a:ext uri="{FF2B5EF4-FFF2-40B4-BE49-F238E27FC236}">
                      <a16:creationId xmlns:a16="http://schemas.microsoft.com/office/drawing/2014/main" id="{84CD3A1E-D0C1-55BD-07B9-810F2E711E25}"/>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5">
                  <a:extLst>
                    <a:ext uri="{FF2B5EF4-FFF2-40B4-BE49-F238E27FC236}">
                      <a16:creationId xmlns:a16="http://schemas.microsoft.com/office/drawing/2014/main" id="{6F9F1290-D144-0833-AB9B-84EB69830922}"/>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5" name="Group 234">
                <a:extLst>
                  <a:ext uri="{FF2B5EF4-FFF2-40B4-BE49-F238E27FC236}">
                    <a16:creationId xmlns:a16="http://schemas.microsoft.com/office/drawing/2014/main" id="{FED58282-9F9C-D5DD-9B6A-D8762A79092C}"/>
                  </a:ext>
                </a:extLst>
              </p:cNvPr>
              <p:cNvGrpSpPr>
                <a:grpSpLocks noGrp="1" noUngrp="1" noRot="1" noMove="1" noResize="1"/>
              </p:cNvGrpSpPr>
              <p:nvPr userDrawn="1"/>
            </p:nvGrpSpPr>
            <p:grpSpPr>
              <a:xfrm>
                <a:off x="3644852" y="6695125"/>
                <a:ext cx="1160133" cy="88488"/>
                <a:chOff x="5248227" y="4555175"/>
                <a:chExt cx="1160133" cy="88488"/>
              </a:xfrm>
              <a:grpFill/>
            </p:grpSpPr>
            <p:sp>
              <p:nvSpPr>
                <p:cNvPr id="240" name="Freeform 95">
                  <a:extLst>
                    <a:ext uri="{FF2B5EF4-FFF2-40B4-BE49-F238E27FC236}">
                      <a16:creationId xmlns:a16="http://schemas.microsoft.com/office/drawing/2014/main" id="{94A30F6D-87C1-3186-9006-283511C6E49F}"/>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95">
                  <a:extLst>
                    <a:ext uri="{FF2B5EF4-FFF2-40B4-BE49-F238E27FC236}">
                      <a16:creationId xmlns:a16="http://schemas.microsoft.com/office/drawing/2014/main" id="{BFC220D7-901F-BD32-5197-D14B540F538E}"/>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95">
                  <a:extLst>
                    <a:ext uri="{FF2B5EF4-FFF2-40B4-BE49-F238E27FC236}">
                      <a16:creationId xmlns:a16="http://schemas.microsoft.com/office/drawing/2014/main" id="{CCC962B5-9D72-CA06-8109-C1CB9498BE60}"/>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6" name="Group 235">
                <a:extLst>
                  <a:ext uri="{FF2B5EF4-FFF2-40B4-BE49-F238E27FC236}">
                    <a16:creationId xmlns:a16="http://schemas.microsoft.com/office/drawing/2014/main" id="{41225CDF-35B5-8606-19B2-7393EAAF4315}"/>
                  </a:ext>
                </a:extLst>
              </p:cNvPr>
              <p:cNvGrpSpPr>
                <a:grpSpLocks noGrp="1" noUngrp="1" noRot="1" noMove="1" noResize="1"/>
              </p:cNvGrpSpPr>
              <p:nvPr userDrawn="1"/>
            </p:nvGrpSpPr>
            <p:grpSpPr>
              <a:xfrm>
                <a:off x="6851602" y="6695125"/>
                <a:ext cx="1160133" cy="88488"/>
                <a:chOff x="5248227" y="4555175"/>
                <a:chExt cx="1160133" cy="88488"/>
              </a:xfrm>
              <a:grpFill/>
            </p:grpSpPr>
            <p:sp>
              <p:nvSpPr>
                <p:cNvPr id="237" name="Freeform 95">
                  <a:extLst>
                    <a:ext uri="{FF2B5EF4-FFF2-40B4-BE49-F238E27FC236}">
                      <a16:creationId xmlns:a16="http://schemas.microsoft.com/office/drawing/2014/main" id="{5D4D485F-B7AD-C57A-4A5F-A4BB8270D3EE}"/>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95">
                  <a:extLst>
                    <a:ext uri="{FF2B5EF4-FFF2-40B4-BE49-F238E27FC236}">
                      <a16:creationId xmlns:a16="http://schemas.microsoft.com/office/drawing/2014/main" id="{CDD18812-84E0-F5D1-3E51-438DAC66CA42}"/>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95">
                  <a:extLst>
                    <a:ext uri="{FF2B5EF4-FFF2-40B4-BE49-F238E27FC236}">
                      <a16:creationId xmlns:a16="http://schemas.microsoft.com/office/drawing/2014/main" id="{6FCB57F1-CA81-FEDD-1011-B11F4CBEC623}"/>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pic>
        <p:nvPicPr>
          <p:cNvPr id="61" name="Picture 60">
            <a:extLst>
              <a:ext uri="{FF2B5EF4-FFF2-40B4-BE49-F238E27FC236}">
                <a16:creationId xmlns:a16="http://schemas.microsoft.com/office/drawing/2014/main" id="{359E9019-41CE-2B76-CC4D-663718BB596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6319516" y="-231535"/>
            <a:ext cx="4709702" cy="5335007"/>
          </a:xfrm>
          <a:prstGeom prst="rect">
            <a:avLst/>
          </a:prstGeom>
        </p:spPr>
      </p:pic>
      <p:sp>
        <p:nvSpPr>
          <p:cNvPr id="12" name="Text Placeholder 2">
            <a:extLst>
              <a:ext uri="{FF2B5EF4-FFF2-40B4-BE49-F238E27FC236}">
                <a16:creationId xmlns:a16="http://schemas.microsoft.com/office/drawing/2014/main" id="{2F83CEE2-D054-32A0-6C60-6A2F9D650ADE}"/>
              </a:ext>
            </a:extLst>
          </p:cNvPr>
          <p:cNvSpPr>
            <a:spLocks noGrp="1"/>
          </p:cNvSpPr>
          <p:nvPr>
            <p:ph type="body" sz="quarter" idx="13" hasCustomPrompt="1"/>
          </p:nvPr>
        </p:nvSpPr>
        <p:spPr>
          <a:xfrm>
            <a:off x="358776" y="1327356"/>
            <a:ext cx="4676774" cy="396000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tx2"/>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tx2"/>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4" name="Legal dynamic" descr="{&quot;templafy&quot;:{&quot;id&quot;:&quot;635f812d-d2e2-45d0-9881-d7ff1a098c09&quot;}}" title="Form.Cigna_Confidentiality.EvernorthConfidentiality">
            <a:extLst>
              <a:ext uri="{FF2B5EF4-FFF2-40B4-BE49-F238E27FC236}">
                <a16:creationId xmlns:a16="http://schemas.microsoft.com/office/drawing/2014/main" id="{7551AE01-EE7C-0BFC-DDDB-F7BD048FCB81}"/>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02F3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6f09d1b1-beac-4733-b360-4909880f5b57&quot;}}" title="Form.Cigna_Confidentiality.Cigna_confidentiality">
            <a:extLst>
              <a:ext uri="{FF2B5EF4-FFF2-40B4-BE49-F238E27FC236}">
                <a16:creationId xmlns:a16="http://schemas.microsoft.com/office/drawing/2014/main" id="{81FC5392-C6AA-30C1-C596-4C3C7B220DC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02F32"/>
                </a:solidFill>
                <a:effectLst/>
                <a:latin typeface="Arial Narrow" panose="020B0604020202020204" pitchFamily="34" charset="0"/>
                <a:ea typeface="+mn-ea"/>
                <a:cs typeface="+mn-cs"/>
              </a:rPr>
              <a:t>For internal use only. Use and distribution limited solely to authorized personnel.</a:t>
            </a:r>
          </a:p>
        </p:txBody>
      </p:sp>
      <p:pic>
        <p:nvPicPr>
          <p:cNvPr id="7" name="Dynamic logo hypermint" descr="{&quot;templafy&quot;:{&quot;id&quot;:&quot;f577edb5-2cdb-4e68-ba77-1b213c9fcb59&quot;}}">
            <a:extLst>
              <a:ext uri="{FF2B5EF4-FFF2-40B4-BE49-F238E27FC236}">
                <a16:creationId xmlns:a16="http://schemas.microsoft.com/office/drawing/2014/main" id="{B8CB06D9-BA45-A382-43C2-69D7063442CB}"/>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71CFEA6D-9624-1DA4-1B94-989A09ABEA77}"/>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735928049"/>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 Quote and Imag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97" name="Group 96">
            <a:extLst>
              <a:ext uri="{FF2B5EF4-FFF2-40B4-BE49-F238E27FC236}">
                <a16:creationId xmlns:a16="http://schemas.microsoft.com/office/drawing/2014/main" id="{7E5B5A0B-53B2-EAFE-8BC8-887D2ED8516C}"/>
              </a:ext>
            </a:extLst>
          </p:cNvPr>
          <p:cNvGrpSpPr>
            <a:grpSpLocks noGrp="1" noUngrp="1" noRot="1" noMove="1" noResize="1"/>
          </p:cNvGrpSpPr>
          <p:nvPr userDrawn="1"/>
        </p:nvGrpSpPr>
        <p:grpSpPr>
          <a:xfrm>
            <a:off x="3538575" y="4314726"/>
            <a:ext cx="8681999" cy="2543274"/>
            <a:chOff x="3538575" y="4314726"/>
            <a:chExt cx="8681999" cy="2543274"/>
          </a:xfrm>
        </p:grpSpPr>
        <p:sp>
          <p:nvSpPr>
            <p:cNvPr id="57" name="Freeform: Shape 56">
              <a:extLst>
                <a:ext uri="{FF2B5EF4-FFF2-40B4-BE49-F238E27FC236}">
                  <a16:creationId xmlns:a16="http://schemas.microsoft.com/office/drawing/2014/main" id="{65A410F1-3B21-758E-8F9A-7B09A52F5CC7}"/>
                </a:ext>
              </a:extLst>
            </p:cNvPr>
            <p:cNvSpPr>
              <a:spLocks noGrp="1" noRot="1" noMove="1" noResize="1" noEditPoints="1" noAdjustHandles="1" noChangeArrowheads="1" noChangeShapeType="1"/>
            </p:cNvSpPr>
            <p:nvPr userDrawn="1"/>
          </p:nvSpPr>
          <p:spPr>
            <a:xfrm>
              <a:off x="9086175" y="4314726"/>
              <a:ext cx="3134399" cy="2543274"/>
            </a:xfrm>
            <a:custGeom>
              <a:avLst/>
              <a:gdLst>
                <a:gd name="connsiteX0" fmla="*/ 1914660 w 3134399"/>
                <a:gd name="connsiteY0" fmla="*/ 0 h 2543274"/>
                <a:gd name="connsiteX1" fmla="*/ 2871990 w 3134399"/>
                <a:gd name="connsiteY1" fmla="*/ 0 h 2543274"/>
                <a:gd name="connsiteX2" fmla="*/ 3118253 w 3134399"/>
                <a:gd name="connsiteY2" fmla="*/ 116098 h 2543274"/>
                <a:gd name="connsiteX3" fmla="*/ 3134399 w 3134399"/>
                <a:gd name="connsiteY3" fmla="*/ 142718 h 2543274"/>
                <a:gd name="connsiteX4" fmla="*/ 3134399 w 3134399"/>
                <a:gd name="connsiteY4" fmla="*/ 2543274 h 2543274"/>
                <a:gd name="connsiteX5" fmla="*/ 0 w 3134399"/>
                <a:gd name="connsiteY5" fmla="*/ 2543274 h 2543274"/>
                <a:gd name="connsiteX6" fmla="*/ 0 w 3134399"/>
                <a:gd name="connsiteY6" fmla="*/ 1914659 h 2543274"/>
                <a:gd name="connsiteX7" fmla="*/ 319110 w 3134399"/>
                <a:gd name="connsiteY7" fmla="*/ 1595549 h 2543274"/>
                <a:gd name="connsiteX8" fmla="*/ 1356217 w 3134399"/>
                <a:gd name="connsiteY8" fmla="*/ 1595549 h 2543274"/>
                <a:gd name="connsiteX9" fmla="*/ 1595550 w 3134399"/>
                <a:gd name="connsiteY9" fmla="*/ 1356217 h 2543274"/>
                <a:gd name="connsiteX10" fmla="*/ 1595550 w 3134399"/>
                <a:gd name="connsiteY10" fmla="*/ 319110 h 2543274"/>
                <a:gd name="connsiteX11" fmla="*/ 1914660 w 3134399"/>
                <a:gd name="connsiteY11"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4399" h="2543274">
                  <a:moveTo>
                    <a:pt x="1914660" y="0"/>
                  </a:moveTo>
                  <a:lnTo>
                    <a:pt x="2871990" y="0"/>
                  </a:lnTo>
                  <a:cubicBezTo>
                    <a:pt x="2971163" y="0"/>
                    <a:pt x="3059735" y="45184"/>
                    <a:pt x="3118253" y="116098"/>
                  </a:cubicBezTo>
                  <a:lnTo>
                    <a:pt x="3134399" y="142718"/>
                  </a:lnTo>
                  <a:lnTo>
                    <a:pt x="313439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rgbClr val="008F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58" name="Freeform 17">
              <a:extLst>
                <a:ext uri="{FF2B5EF4-FFF2-40B4-BE49-F238E27FC236}">
                  <a16:creationId xmlns:a16="http://schemas.microsoft.com/office/drawing/2014/main" id="{3FBBE6F3-67F8-70FA-364E-5CF2F20914AD}"/>
                </a:ext>
              </a:extLst>
            </p:cNvPr>
            <p:cNvSpPr>
              <a:spLocks noGrp="1" noRot="1" noMove="1" noResize="1" noEditPoints="1" noAdjustHandles="1" noChangeArrowheads="1" noChangeShapeType="1"/>
            </p:cNvSpPr>
            <p:nvPr userDrawn="1"/>
          </p:nvSpPr>
          <p:spPr>
            <a:xfrm>
              <a:off x="3538575" y="4314726"/>
              <a:ext cx="4752000" cy="2543274"/>
            </a:xfrm>
            <a:custGeom>
              <a:avLst/>
              <a:gdLst>
                <a:gd name="connsiteX0" fmla="*/ 1914660 w 4786649"/>
                <a:gd name="connsiteY0" fmla="*/ 0 h 2543274"/>
                <a:gd name="connsiteX1" fmla="*/ 2871990 w 4786649"/>
                <a:gd name="connsiteY1" fmla="*/ 0 h 2543274"/>
                <a:gd name="connsiteX2" fmla="*/ 3191100 w 4786649"/>
                <a:gd name="connsiteY2" fmla="*/ 319110 h 2543274"/>
                <a:gd name="connsiteX3" fmla="*/ 3191100 w 4786649"/>
                <a:gd name="connsiteY3" fmla="*/ 1356217 h 2543274"/>
                <a:gd name="connsiteX4" fmla="*/ 3430432 w 4786649"/>
                <a:gd name="connsiteY4" fmla="*/ 1595549 h 2543274"/>
                <a:gd name="connsiteX5" fmla="*/ 4467539 w 4786649"/>
                <a:gd name="connsiteY5" fmla="*/ 1595549 h 2543274"/>
                <a:gd name="connsiteX6" fmla="*/ 4786649 w 4786649"/>
                <a:gd name="connsiteY6" fmla="*/ 1914659 h 2543274"/>
                <a:gd name="connsiteX7" fmla="*/ 4786649 w 4786649"/>
                <a:gd name="connsiteY7" fmla="*/ 2543274 h 2543274"/>
                <a:gd name="connsiteX8" fmla="*/ 0 w 4786649"/>
                <a:gd name="connsiteY8" fmla="*/ 2543274 h 2543274"/>
                <a:gd name="connsiteX9" fmla="*/ 0 w 4786649"/>
                <a:gd name="connsiteY9" fmla="*/ 1914659 h 2543274"/>
                <a:gd name="connsiteX10" fmla="*/ 319110 w 4786649"/>
                <a:gd name="connsiteY10" fmla="*/ 1595549 h 2543274"/>
                <a:gd name="connsiteX11" fmla="*/ 1356217 w 4786649"/>
                <a:gd name="connsiteY11" fmla="*/ 1595549 h 2543274"/>
                <a:gd name="connsiteX12" fmla="*/ 1595550 w 4786649"/>
                <a:gd name="connsiteY12" fmla="*/ 1356217 h 2543274"/>
                <a:gd name="connsiteX13" fmla="*/ 1595550 w 4786649"/>
                <a:gd name="connsiteY13" fmla="*/ 319110 h 2543274"/>
                <a:gd name="connsiteX14" fmla="*/ 1914660 w 4786649"/>
                <a:gd name="connsiteY14"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6649" h="2543274">
                  <a:moveTo>
                    <a:pt x="1914660" y="0"/>
                  </a:moveTo>
                  <a:lnTo>
                    <a:pt x="2871990" y="0"/>
                  </a:lnTo>
                  <a:cubicBezTo>
                    <a:pt x="3048298" y="0"/>
                    <a:pt x="3191100" y="142802"/>
                    <a:pt x="3191100" y="319110"/>
                  </a:cubicBezTo>
                  <a:lnTo>
                    <a:pt x="3191100" y="1356217"/>
                  </a:lnTo>
                  <a:cubicBezTo>
                    <a:pt x="3191100" y="1488448"/>
                    <a:pt x="3298201" y="1595549"/>
                    <a:pt x="3430432" y="1595549"/>
                  </a:cubicBezTo>
                  <a:lnTo>
                    <a:pt x="4467539" y="1595549"/>
                  </a:lnTo>
                  <a:cubicBezTo>
                    <a:pt x="4643848" y="1595549"/>
                    <a:pt x="4786649" y="1738351"/>
                    <a:pt x="4786649" y="1914659"/>
                  </a:cubicBezTo>
                  <a:lnTo>
                    <a:pt x="478664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rgbClr val="90B9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nvGrpSpPr>
            <p:cNvPr id="59" name="Group 58">
              <a:extLst>
                <a:ext uri="{FF2B5EF4-FFF2-40B4-BE49-F238E27FC236}">
                  <a16:creationId xmlns:a16="http://schemas.microsoft.com/office/drawing/2014/main" id="{35C1DB47-861E-9408-F0C1-2AA96C20E83F}"/>
                </a:ext>
              </a:extLst>
            </p:cNvPr>
            <p:cNvGrpSpPr>
              <a:grpSpLocks noGrp="1" noUngrp="1" noRot="1" noMove="1" noResize="1"/>
            </p:cNvGrpSpPr>
            <p:nvPr userDrawn="1"/>
          </p:nvGrpSpPr>
          <p:grpSpPr>
            <a:xfrm>
              <a:off x="3731134" y="4555175"/>
              <a:ext cx="4366883" cy="2228438"/>
              <a:chOff x="3644852" y="4555175"/>
              <a:chExt cx="4366883" cy="2228438"/>
            </a:xfrm>
            <a:solidFill>
              <a:srgbClr val="035C67"/>
            </a:solidFill>
          </p:grpSpPr>
          <p:grpSp>
            <p:nvGrpSpPr>
              <p:cNvPr id="60" name="Group 59">
                <a:extLst>
                  <a:ext uri="{FF2B5EF4-FFF2-40B4-BE49-F238E27FC236}">
                    <a16:creationId xmlns:a16="http://schemas.microsoft.com/office/drawing/2014/main" id="{F65EABEB-B8B5-4530-FDD7-7F93A90E0C66}"/>
                  </a:ext>
                </a:extLst>
              </p:cNvPr>
              <p:cNvGrpSpPr>
                <a:grpSpLocks noGrp="1" noUngrp="1" noRot="1" noMove="1" noResize="1"/>
              </p:cNvGrpSpPr>
              <p:nvPr userDrawn="1"/>
            </p:nvGrpSpPr>
            <p:grpSpPr>
              <a:xfrm>
                <a:off x="5248227" y="4555175"/>
                <a:ext cx="1160133" cy="621888"/>
                <a:chOff x="5248227" y="4555175"/>
                <a:chExt cx="1160133" cy="621888"/>
              </a:xfrm>
              <a:grpFill/>
            </p:grpSpPr>
            <p:grpSp>
              <p:nvGrpSpPr>
                <p:cNvPr id="89" name="Group 88">
                  <a:extLst>
                    <a:ext uri="{FF2B5EF4-FFF2-40B4-BE49-F238E27FC236}">
                      <a16:creationId xmlns:a16="http://schemas.microsoft.com/office/drawing/2014/main" id="{34DD42FD-8602-534F-213E-527B49ACD648}"/>
                    </a:ext>
                  </a:extLst>
                </p:cNvPr>
                <p:cNvGrpSpPr>
                  <a:grpSpLocks noGrp="1" noUngrp="1" noRot="1" noMove="1" noResize="1"/>
                </p:cNvGrpSpPr>
                <p:nvPr userDrawn="1"/>
              </p:nvGrpSpPr>
              <p:grpSpPr>
                <a:xfrm>
                  <a:off x="5248227" y="4555175"/>
                  <a:ext cx="1160133" cy="88488"/>
                  <a:chOff x="5248227" y="4555175"/>
                  <a:chExt cx="1160133" cy="88488"/>
                </a:xfrm>
                <a:grpFill/>
              </p:grpSpPr>
              <p:sp>
                <p:nvSpPr>
                  <p:cNvPr id="94" name="Freeform 95">
                    <a:extLst>
                      <a:ext uri="{FF2B5EF4-FFF2-40B4-BE49-F238E27FC236}">
                        <a16:creationId xmlns:a16="http://schemas.microsoft.com/office/drawing/2014/main" id="{406D5802-B43E-7BA1-CBC8-C1163C6EC4C4}"/>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5">
                    <a:extLst>
                      <a:ext uri="{FF2B5EF4-FFF2-40B4-BE49-F238E27FC236}">
                        <a16:creationId xmlns:a16="http://schemas.microsoft.com/office/drawing/2014/main" id="{E5EBC164-4611-8781-C69D-7C96B806F34F}"/>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5">
                    <a:extLst>
                      <a:ext uri="{FF2B5EF4-FFF2-40B4-BE49-F238E27FC236}">
                        <a16:creationId xmlns:a16="http://schemas.microsoft.com/office/drawing/2014/main" id="{16557719-7A50-8184-29EB-85BC2A6AE410}"/>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70A04E59-D15B-524A-CD35-96B72ED0662C}"/>
                    </a:ext>
                  </a:extLst>
                </p:cNvPr>
                <p:cNvGrpSpPr>
                  <a:grpSpLocks noGrp="1" noUngrp="1" noRot="1" noMove="1" noResize="1"/>
                </p:cNvGrpSpPr>
                <p:nvPr userDrawn="1"/>
              </p:nvGrpSpPr>
              <p:grpSpPr>
                <a:xfrm>
                  <a:off x="5248227" y="5088575"/>
                  <a:ext cx="1160133" cy="88488"/>
                  <a:chOff x="5248227" y="4555175"/>
                  <a:chExt cx="1160133" cy="88488"/>
                </a:xfrm>
                <a:grpFill/>
              </p:grpSpPr>
              <p:sp>
                <p:nvSpPr>
                  <p:cNvPr id="91" name="Freeform 95">
                    <a:extLst>
                      <a:ext uri="{FF2B5EF4-FFF2-40B4-BE49-F238E27FC236}">
                        <a16:creationId xmlns:a16="http://schemas.microsoft.com/office/drawing/2014/main" id="{C107AD52-D394-2190-BD78-71EDAF651B32}"/>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5">
                    <a:extLst>
                      <a:ext uri="{FF2B5EF4-FFF2-40B4-BE49-F238E27FC236}">
                        <a16:creationId xmlns:a16="http://schemas.microsoft.com/office/drawing/2014/main" id="{B664E606-57CB-F90F-5405-8F9201A0340E}"/>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5">
                    <a:extLst>
                      <a:ext uri="{FF2B5EF4-FFF2-40B4-BE49-F238E27FC236}">
                        <a16:creationId xmlns:a16="http://schemas.microsoft.com/office/drawing/2014/main" id="{9307C207-9CBB-0C10-9B88-F18F311E4602}"/>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1" name="Group 60">
                <a:extLst>
                  <a:ext uri="{FF2B5EF4-FFF2-40B4-BE49-F238E27FC236}">
                    <a16:creationId xmlns:a16="http://schemas.microsoft.com/office/drawing/2014/main" id="{85B6BA64-D83A-CF25-1F9B-401709C56D86}"/>
                  </a:ext>
                </a:extLst>
              </p:cNvPr>
              <p:cNvGrpSpPr>
                <a:grpSpLocks noGrp="1" noUngrp="1" noRot="1" noMove="1" noResize="1"/>
              </p:cNvGrpSpPr>
              <p:nvPr userDrawn="1"/>
            </p:nvGrpSpPr>
            <p:grpSpPr>
              <a:xfrm>
                <a:off x="5248227" y="5625150"/>
                <a:ext cx="1160133" cy="88488"/>
                <a:chOff x="5248227" y="4555175"/>
                <a:chExt cx="1160133" cy="88488"/>
              </a:xfrm>
              <a:grpFill/>
            </p:grpSpPr>
            <p:sp>
              <p:nvSpPr>
                <p:cNvPr id="86" name="Freeform 95">
                  <a:extLst>
                    <a:ext uri="{FF2B5EF4-FFF2-40B4-BE49-F238E27FC236}">
                      <a16:creationId xmlns:a16="http://schemas.microsoft.com/office/drawing/2014/main" id="{4E24C004-3650-01AA-19D0-151BA0787BF9}"/>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5">
                  <a:extLst>
                    <a:ext uri="{FF2B5EF4-FFF2-40B4-BE49-F238E27FC236}">
                      <a16:creationId xmlns:a16="http://schemas.microsoft.com/office/drawing/2014/main" id="{ECDA1B30-1391-1A14-E145-67653058EEC8}"/>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5">
                  <a:extLst>
                    <a:ext uri="{FF2B5EF4-FFF2-40B4-BE49-F238E27FC236}">
                      <a16:creationId xmlns:a16="http://schemas.microsoft.com/office/drawing/2014/main" id="{4CB567A1-A5E7-E4B4-CFFF-3BA159E09E72}"/>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 name="Group 61">
                <a:extLst>
                  <a:ext uri="{FF2B5EF4-FFF2-40B4-BE49-F238E27FC236}">
                    <a16:creationId xmlns:a16="http://schemas.microsoft.com/office/drawing/2014/main" id="{49F07E19-A6EB-00F9-06FA-A9D76F450C14}"/>
                  </a:ext>
                </a:extLst>
              </p:cNvPr>
              <p:cNvGrpSpPr>
                <a:grpSpLocks noGrp="1" noUngrp="1" noRot="1" noMove="1" noResize="1"/>
              </p:cNvGrpSpPr>
              <p:nvPr userDrawn="1"/>
            </p:nvGrpSpPr>
            <p:grpSpPr>
              <a:xfrm>
                <a:off x="5248227" y="6158550"/>
                <a:ext cx="1160133" cy="88488"/>
                <a:chOff x="5248227" y="4555175"/>
                <a:chExt cx="1160133" cy="88488"/>
              </a:xfrm>
              <a:grpFill/>
            </p:grpSpPr>
            <p:sp>
              <p:nvSpPr>
                <p:cNvPr id="83" name="Freeform 95">
                  <a:extLst>
                    <a:ext uri="{FF2B5EF4-FFF2-40B4-BE49-F238E27FC236}">
                      <a16:creationId xmlns:a16="http://schemas.microsoft.com/office/drawing/2014/main" id="{1973ECBD-E20E-85B5-A74A-2F4B65172B53}"/>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95">
                  <a:extLst>
                    <a:ext uri="{FF2B5EF4-FFF2-40B4-BE49-F238E27FC236}">
                      <a16:creationId xmlns:a16="http://schemas.microsoft.com/office/drawing/2014/main" id="{E892AD59-BFB3-E8CE-759E-09A5E8CC09AB}"/>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5">
                  <a:extLst>
                    <a:ext uri="{FF2B5EF4-FFF2-40B4-BE49-F238E27FC236}">
                      <a16:creationId xmlns:a16="http://schemas.microsoft.com/office/drawing/2014/main" id="{3257B740-78A9-AE5A-A48C-7E475CA5546C}"/>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 62">
                <a:extLst>
                  <a:ext uri="{FF2B5EF4-FFF2-40B4-BE49-F238E27FC236}">
                    <a16:creationId xmlns:a16="http://schemas.microsoft.com/office/drawing/2014/main" id="{534BD2D9-95B1-636C-CC09-E2070228380A}"/>
                  </a:ext>
                </a:extLst>
              </p:cNvPr>
              <p:cNvGrpSpPr>
                <a:grpSpLocks noGrp="1" noUngrp="1" noRot="1" noMove="1" noResize="1"/>
              </p:cNvGrpSpPr>
              <p:nvPr userDrawn="1"/>
            </p:nvGrpSpPr>
            <p:grpSpPr>
              <a:xfrm>
                <a:off x="3644852" y="6158550"/>
                <a:ext cx="1160133" cy="88488"/>
                <a:chOff x="5248227" y="4555175"/>
                <a:chExt cx="1160133" cy="88488"/>
              </a:xfrm>
              <a:grpFill/>
            </p:grpSpPr>
            <p:sp>
              <p:nvSpPr>
                <p:cNvPr id="80" name="Freeform 95">
                  <a:extLst>
                    <a:ext uri="{FF2B5EF4-FFF2-40B4-BE49-F238E27FC236}">
                      <a16:creationId xmlns:a16="http://schemas.microsoft.com/office/drawing/2014/main" id="{F8EF1F3E-71E5-F862-FE98-E4C8738C2928}"/>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95">
                  <a:extLst>
                    <a:ext uri="{FF2B5EF4-FFF2-40B4-BE49-F238E27FC236}">
                      <a16:creationId xmlns:a16="http://schemas.microsoft.com/office/drawing/2014/main" id="{CADF335E-57F6-2E38-122A-DC5762DC90DB}"/>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95">
                  <a:extLst>
                    <a:ext uri="{FF2B5EF4-FFF2-40B4-BE49-F238E27FC236}">
                      <a16:creationId xmlns:a16="http://schemas.microsoft.com/office/drawing/2014/main" id="{8F989C2E-96D7-711F-678F-51CFC9359287}"/>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oup 63">
                <a:extLst>
                  <a:ext uri="{FF2B5EF4-FFF2-40B4-BE49-F238E27FC236}">
                    <a16:creationId xmlns:a16="http://schemas.microsoft.com/office/drawing/2014/main" id="{A32F1EB6-8C69-7B5E-A0D6-240C0FC5B628}"/>
                  </a:ext>
                </a:extLst>
              </p:cNvPr>
              <p:cNvGrpSpPr>
                <a:grpSpLocks noGrp="1" noUngrp="1" noRot="1" noMove="1" noResize="1"/>
              </p:cNvGrpSpPr>
              <p:nvPr userDrawn="1"/>
            </p:nvGrpSpPr>
            <p:grpSpPr>
              <a:xfrm>
                <a:off x="6851602" y="6158550"/>
                <a:ext cx="1160133" cy="88488"/>
                <a:chOff x="5248227" y="4555175"/>
                <a:chExt cx="1160133" cy="88488"/>
              </a:xfrm>
              <a:grpFill/>
            </p:grpSpPr>
            <p:sp>
              <p:nvSpPr>
                <p:cNvPr id="77" name="Freeform 95">
                  <a:extLst>
                    <a:ext uri="{FF2B5EF4-FFF2-40B4-BE49-F238E27FC236}">
                      <a16:creationId xmlns:a16="http://schemas.microsoft.com/office/drawing/2014/main" id="{85F55892-6BE1-47FD-0928-81C65BC2DDE2}"/>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95">
                  <a:extLst>
                    <a:ext uri="{FF2B5EF4-FFF2-40B4-BE49-F238E27FC236}">
                      <a16:creationId xmlns:a16="http://schemas.microsoft.com/office/drawing/2014/main" id="{A046AE19-C999-4E00-802F-B4D7F7D66ADD}"/>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95">
                  <a:extLst>
                    <a:ext uri="{FF2B5EF4-FFF2-40B4-BE49-F238E27FC236}">
                      <a16:creationId xmlns:a16="http://schemas.microsoft.com/office/drawing/2014/main" id="{E54CBAC5-44FD-1C88-16B3-ABE2C92E8E2D}"/>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 name="Group 64">
                <a:extLst>
                  <a:ext uri="{FF2B5EF4-FFF2-40B4-BE49-F238E27FC236}">
                    <a16:creationId xmlns:a16="http://schemas.microsoft.com/office/drawing/2014/main" id="{F93BD44E-12FA-BA6C-AA15-041F2D735882}"/>
                  </a:ext>
                </a:extLst>
              </p:cNvPr>
              <p:cNvGrpSpPr>
                <a:grpSpLocks noGrp="1" noUngrp="1" noRot="1" noMove="1" noResize="1"/>
              </p:cNvGrpSpPr>
              <p:nvPr userDrawn="1"/>
            </p:nvGrpSpPr>
            <p:grpSpPr>
              <a:xfrm>
                <a:off x="5248227" y="6695125"/>
                <a:ext cx="1160133" cy="88488"/>
                <a:chOff x="5248227" y="4555175"/>
                <a:chExt cx="1160133" cy="88488"/>
              </a:xfrm>
              <a:grpFill/>
            </p:grpSpPr>
            <p:sp>
              <p:nvSpPr>
                <p:cNvPr id="74" name="Freeform 95">
                  <a:extLst>
                    <a:ext uri="{FF2B5EF4-FFF2-40B4-BE49-F238E27FC236}">
                      <a16:creationId xmlns:a16="http://schemas.microsoft.com/office/drawing/2014/main" id="{B23ADD05-AE4A-21F9-B6AB-E3CDD4B76620}"/>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95">
                  <a:extLst>
                    <a:ext uri="{FF2B5EF4-FFF2-40B4-BE49-F238E27FC236}">
                      <a16:creationId xmlns:a16="http://schemas.microsoft.com/office/drawing/2014/main" id="{FDD79F79-5A76-79D0-DC87-519A1F1DEA79}"/>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95">
                  <a:extLst>
                    <a:ext uri="{FF2B5EF4-FFF2-40B4-BE49-F238E27FC236}">
                      <a16:creationId xmlns:a16="http://schemas.microsoft.com/office/drawing/2014/main" id="{5894FB06-AD21-ACBC-6A67-EB1F270F1144}"/>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6" name="Group 65">
                <a:extLst>
                  <a:ext uri="{FF2B5EF4-FFF2-40B4-BE49-F238E27FC236}">
                    <a16:creationId xmlns:a16="http://schemas.microsoft.com/office/drawing/2014/main" id="{A003B227-CCEA-232F-D2BD-2B0248C9104D}"/>
                  </a:ext>
                </a:extLst>
              </p:cNvPr>
              <p:cNvGrpSpPr>
                <a:grpSpLocks noGrp="1" noUngrp="1" noRot="1" noMove="1" noResize="1"/>
              </p:cNvGrpSpPr>
              <p:nvPr userDrawn="1"/>
            </p:nvGrpSpPr>
            <p:grpSpPr>
              <a:xfrm>
                <a:off x="3644852" y="6695125"/>
                <a:ext cx="1160133" cy="88488"/>
                <a:chOff x="5248227" y="4555175"/>
                <a:chExt cx="1160133" cy="88488"/>
              </a:xfrm>
              <a:grpFill/>
            </p:grpSpPr>
            <p:sp>
              <p:nvSpPr>
                <p:cNvPr id="71" name="Freeform 95">
                  <a:extLst>
                    <a:ext uri="{FF2B5EF4-FFF2-40B4-BE49-F238E27FC236}">
                      <a16:creationId xmlns:a16="http://schemas.microsoft.com/office/drawing/2014/main" id="{0F227EF3-6AED-6717-0A02-8C4406808E5F}"/>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95">
                  <a:extLst>
                    <a:ext uri="{FF2B5EF4-FFF2-40B4-BE49-F238E27FC236}">
                      <a16:creationId xmlns:a16="http://schemas.microsoft.com/office/drawing/2014/main" id="{20F7C60F-2DCD-399F-CECF-ECBCF456390F}"/>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95">
                  <a:extLst>
                    <a:ext uri="{FF2B5EF4-FFF2-40B4-BE49-F238E27FC236}">
                      <a16:creationId xmlns:a16="http://schemas.microsoft.com/office/drawing/2014/main" id="{2C550306-ABF2-0007-72CE-C069BB88BA87}"/>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7" name="Group 66">
                <a:extLst>
                  <a:ext uri="{FF2B5EF4-FFF2-40B4-BE49-F238E27FC236}">
                    <a16:creationId xmlns:a16="http://schemas.microsoft.com/office/drawing/2014/main" id="{3DF7819D-0137-247B-9321-F5D195EBFC15}"/>
                  </a:ext>
                </a:extLst>
              </p:cNvPr>
              <p:cNvGrpSpPr>
                <a:grpSpLocks noGrp="1" noUngrp="1" noRot="1" noMove="1" noResize="1"/>
              </p:cNvGrpSpPr>
              <p:nvPr userDrawn="1"/>
            </p:nvGrpSpPr>
            <p:grpSpPr>
              <a:xfrm>
                <a:off x="6851602" y="6695125"/>
                <a:ext cx="1160133" cy="88488"/>
                <a:chOff x="5248227" y="4555175"/>
                <a:chExt cx="1160133" cy="88488"/>
              </a:xfrm>
              <a:grpFill/>
            </p:grpSpPr>
            <p:sp>
              <p:nvSpPr>
                <p:cNvPr id="68" name="Freeform 95">
                  <a:extLst>
                    <a:ext uri="{FF2B5EF4-FFF2-40B4-BE49-F238E27FC236}">
                      <a16:creationId xmlns:a16="http://schemas.microsoft.com/office/drawing/2014/main" id="{AF4BAE80-1281-E182-239E-FBFA9906E230}"/>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95">
                  <a:extLst>
                    <a:ext uri="{FF2B5EF4-FFF2-40B4-BE49-F238E27FC236}">
                      <a16:creationId xmlns:a16="http://schemas.microsoft.com/office/drawing/2014/main" id="{C247BF67-D6A3-C2D8-CB41-48935BED2ED4}"/>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95">
                  <a:extLst>
                    <a:ext uri="{FF2B5EF4-FFF2-40B4-BE49-F238E27FC236}">
                      <a16:creationId xmlns:a16="http://schemas.microsoft.com/office/drawing/2014/main" id="{C410E7E2-6990-FBD3-A000-E6276502BB0D}"/>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5" name="Pictureplaceholder">
            <a:extLst>
              <a:ext uri="{FF2B5EF4-FFF2-40B4-BE49-F238E27FC236}">
                <a16:creationId xmlns:a16="http://schemas.microsoft.com/office/drawing/2014/main" id="{C7A4651C-9F6A-95E2-8CA1-38DB6B8BA231}"/>
              </a:ext>
            </a:extLst>
          </p:cNvPr>
          <p:cNvSpPr>
            <a:spLocks noGrp="1" noChangeAspect="1"/>
          </p:cNvSpPr>
          <p:nvPr userDrawn="1">
            <p:ph type="pic" sz="quarter" idx="16"/>
          </p:nvPr>
        </p:nvSpPr>
        <p:spPr>
          <a:xfrm>
            <a:off x="6307200" y="355510"/>
            <a:ext cx="4737600" cy="4737600"/>
          </a:xfrm>
          <a:custGeom>
            <a:avLst/>
            <a:gdLst>
              <a:gd name="connsiteX0" fmla="*/ 1893604 w 4734000"/>
              <a:gd name="connsiteY0" fmla="*/ 0 h 4734000"/>
              <a:gd name="connsiteX1" fmla="*/ 2841049 w 4734000"/>
              <a:gd name="connsiteY1" fmla="*/ 0 h 4734000"/>
              <a:gd name="connsiteX2" fmla="*/ 3156821 w 4734000"/>
              <a:gd name="connsiteY2" fmla="*/ 315772 h 4734000"/>
              <a:gd name="connsiteX3" fmla="*/ 3156821 w 4734000"/>
              <a:gd name="connsiteY3" fmla="*/ 1342547 h 4734000"/>
              <a:gd name="connsiteX4" fmla="*/ 3393650 w 4734000"/>
              <a:gd name="connsiteY4" fmla="*/ 1579376 h 4734000"/>
              <a:gd name="connsiteX5" fmla="*/ 4420167 w 4734000"/>
              <a:gd name="connsiteY5" fmla="*/ 1579376 h 4734000"/>
              <a:gd name="connsiteX6" fmla="*/ 4729524 w 4734000"/>
              <a:gd name="connsiteY6" fmla="*/ 1831509 h 4734000"/>
              <a:gd name="connsiteX7" fmla="*/ 4734000 w 4734000"/>
              <a:gd name="connsiteY7" fmla="*/ 1875914 h 4734000"/>
              <a:gd name="connsiteX8" fmla="*/ 4734000 w 4734000"/>
              <a:gd name="connsiteY8" fmla="*/ 2861827 h 4734000"/>
              <a:gd name="connsiteX9" fmla="*/ 4729524 w 4734000"/>
              <a:gd name="connsiteY9" fmla="*/ 2906232 h 4734000"/>
              <a:gd name="connsiteX10" fmla="*/ 4420167 w 4734000"/>
              <a:gd name="connsiteY10" fmla="*/ 3158365 h 4734000"/>
              <a:gd name="connsiteX11" fmla="*/ 3393650 w 4734000"/>
              <a:gd name="connsiteY11" fmla="*/ 3158365 h 4734000"/>
              <a:gd name="connsiteX12" fmla="*/ 3156821 w 4734000"/>
              <a:gd name="connsiteY12" fmla="*/ 3395194 h 4734000"/>
              <a:gd name="connsiteX13" fmla="*/ 3156821 w 4734000"/>
              <a:gd name="connsiteY13" fmla="*/ 4421711 h 4734000"/>
              <a:gd name="connsiteX14" fmla="*/ 2904688 w 4734000"/>
              <a:gd name="connsiteY14" fmla="*/ 4731068 h 4734000"/>
              <a:gd name="connsiteX15" fmla="*/ 2875601 w 4734000"/>
              <a:gd name="connsiteY15" fmla="*/ 4734000 h 4734000"/>
              <a:gd name="connsiteX16" fmla="*/ 1861483 w 4734000"/>
              <a:gd name="connsiteY16" fmla="*/ 4734000 h 4734000"/>
              <a:gd name="connsiteX17" fmla="*/ 1829836 w 4734000"/>
              <a:gd name="connsiteY17" fmla="*/ 4730810 h 4734000"/>
              <a:gd name="connsiteX18" fmla="*/ 1577703 w 4734000"/>
              <a:gd name="connsiteY18" fmla="*/ 4421453 h 4734000"/>
              <a:gd name="connsiteX19" fmla="*/ 1577703 w 4734000"/>
              <a:gd name="connsiteY19" fmla="*/ 3394936 h 4734000"/>
              <a:gd name="connsiteX20" fmla="*/ 1340874 w 4734000"/>
              <a:gd name="connsiteY20" fmla="*/ 3158107 h 4734000"/>
              <a:gd name="connsiteX21" fmla="*/ 314357 w 4734000"/>
              <a:gd name="connsiteY21" fmla="*/ 3158107 h 4734000"/>
              <a:gd name="connsiteX22" fmla="*/ 5001 w 4734000"/>
              <a:gd name="connsiteY22" fmla="*/ 2905974 h 4734000"/>
              <a:gd name="connsiteX23" fmla="*/ 0 w 4734000"/>
              <a:gd name="connsiteY23" fmla="*/ 2856372 h 4734000"/>
              <a:gd name="connsiteX24" fmla="*/ 0 w 4734000"/>
              <a:gd name="connsiteY24" fmla="*/ 1880853 h 4734000"/>
              <a:gd name="connsiteX25" fmla="*/ 5001 w 4734000"/>
              <a:gd name="connsiteY25" fmla="*/ 1831251 h 4734000"/>
              <a:gd name="connsiteX26" fmla="*/ 314357 w 4734000"/>
              <a:gd name="connsiteY26" fmla="*/ 1579118 h 4734000"/>
              <a:gd name="connsiteX27" fmla="*/ 1341003 w 4734000"/>
              <a:gd name="connsiteY27" fmla="*/ 1579118 h 4734000"/>
              <a:gd name="connsiteX28" fmla="*/ 1577832 w 4734000"/>
              <a:gd name="connsiteY28" fmla="*/ 1342289 h 4734000"/>
              <a:gd name="connsiteX29" fmla="*/ 1577832 w 4734000"/>
              <a:gd name="connsiteY29" fmla="*/ 315772 h 4734000"/>
              <a:gd name="connsiteX30" fmla="*/ 1893604 w 4734000"/>
              <a:gd name="connsiteY30" fmla="*/ 0 h 473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734000" h="4734000">
                <a:moveTo>
                  <a:pt x="1893604" y="0"/>
                </a:moveTo>
                <a:lnTo>
                  <a:pt x="2841049" y="0"/>
                </a:lnTo>
                <a:cubicBezTo>
                  <a:pt x="3015446" y="0"/>
                  <a:pt x="3156821" y="141375"/>
                  <a:pt x="3156821" y="315772"/>
                </a:cubicBezTo>
                <a:lnTo>
                  <a:pt x="3156821" y="1342547"/>
                </a:lnTo>
                <a:cubicBezTo>
                  <a:pt x="3156821" y="1473345"/>
                  <a:pt x="3262852" y="1579376"/>
                  <a:pt x="3393650" y="1579376"/>
                </a:cubicBezTo>
                <a:lnTo>
                  <a:pt x="4420167" y="1579376"/>
                </a:lnTo>
                <a:cubicBezTo>
                  <a:pt x="4572764" y="1579376"/>
                  <a:pt x="4700079" y="1687616"/>
                  <a:pt x="4729524" y="1831509"/>
                </a:cubicBezTo>
                <a:lnTo>
                  <a:pt x="4734000" y="1875914"/>
                </a:lnTo>
                <a:lnTo>
                  <a:pt x="4734000" y="2861827"/>
                </a:lnTo>
                <a:lnTo>
                  <a:pt x="4729524" y="2906232"/>
                </a:lnTo>
                <a:cubicBezTo>
                  <a:pt x="4700079" y="3050125"/>
                  <a:pt x="4572764" y="3158365"/>
                  <a:pt x="4420167" y="3158365"/>
                </a:cubicBezTo>
                <a:lnTo>
                  <a:pt x="3393650" y="3158365"/>
                </a:lnTo>
                <a:cubicBezTo>
                  <a:pt x="3262852" y="3158365"/>
                  <a:pt x="3156821" y="3264396"/>
                  <a:pt x="3156821" y="3395194"/>
                </a:cubicBezTo>
                <a:lnTo>
                  <a:pt x="3156821" y="4421711"/>
                </a:lnTo>
                <a:cubicBezTo>
                  <a:pt x="3156821" y="4574309"/>
                  <a:pt x="3048581" y="4701624"/>
                  <a:pt x="2904688" y="4731068"/>
                </a:cubicBezTo>
                <a:lnTo>
                  <a:pt x="2875601" y="4734000"/>
                </a:lnTo>
                <a:lnTo>
                  <a:pt x="1861483" y="4734000"/>
                </a:lnTo>
                <a:lnTo>
                  <a:pt x="1829836" y="4730810"/>
                </a:lnTo>
                <a:cubicBezTo>
                  <a:pt x="1685944" y="4701366"/>
                  <a:pt x="1577703" y="4574051"/>
                  <a:pt x="1577703" y="4421453"/>
                </a:cubicBezTo>
                <a:lnTo>
                  <a:pt x="1577703" y="3394936"/>
                </a:lnTo>
                <a:cubicBezTo>
                  <a:pt x="1577703" y="3264138"/>
                  <a:pt x="1471672" y="3158107"/>
                  <a:pt x="1340874" y="3158107"/>
                </a:cubicBezTo>
                <a:lnTo>
                  <a:pt x="314357" y="3158107"/>
                </a:lnTo>
                <a:cubicBezTo>
                  <a:pt x="161760" y="3158107"/>
                  <a:pt x="34445" y="3049867"/>
                  <a:pt x="5001" y="2905974"/>
                </a:cubicBezTo>
                <a:lnTo>
                  <a:pt x="0" y="2856372"/>
                </a:lnTo>
                <a:lnTo>
                  <a:pt x="0" y="1880853"/>
                </a:lnTo>
                <a:lnTo>
                  <a:pt x="5001" y="1831251"/>
                </a:lnTo>
                <a:cubicBezTo>
                  <a:pt x="34445" y="1687358"/>
                  <a:pt x="161760" y="1579118"/>
                  <a:pt x="314357" y="1579118"/>
                </a:cubicBezTo>
                <a:lnTo>
                  <a:pt x="1341003" y="1579118"/>
                </a:lnTo>
                <a:cubicBezTo>
                  <a:pt x="1471801" y="1579118"/>
                  <a:pt x="1577832" y="1473087"/>
                  <a:pt x="1577832" y="1342289"/>
                </a:cubicBezTo>
                <a:lnTo>
                  <a:pt x="1577832" y="315772"/>
                </a:lnTo>
                <a:cubicBezTo>
                  <a:pt x="1577832" y="141375"/>
                  <a:pt x="1719207" y="0"/>
                  <a:pt x="1893604" y="0"/>
                </a:cubicBezTo>
                <a:close/>
              </a:path>
            </a:pathLst>
          </a:custGeom>
          <a:solidFill>
            <a:schemeClr val="bg1">
              <a:lumMod val="75000"/>
            </a:schemeClr>
          </a:solidFill>
        </p:spPr>
        <p:txBody>
          <a:bodyPr wrap="square" tIns="576000" anchor="ctr" anchorCtr="0">
            <a:noAutofit/>
          </a:bodyPr>
          <a:lstStyle>
            <a:lvl1pPr marL="0" indent="0" algn="ctr">
              <a:buNone/>
              <a:defRPr sz="1600">
                <a:solidFill>
                  <a:schemeClr val="tx1"/>
                </a:solidFill>
              </a:defRPr>
            </a:lvl1pPr>
          </a:lstStyle>
          <a:p>
            <a:r>
              <a:rPr lang="en-US"/>
              <a:t>Click icon to add picture</a:t>
            </a:r>
          </a:p>
        </p:txBody>
      </p:sp>
      <p:sp>
        <p:nvSpPr>
          <p:cNvPr id="7" name="Text Placeholder 2"/>
          <p:cNvSpPr>
            <a:spLocks noGrp="1"/>
          </p:cNvSpPr>
          <p:nvPr userDrawn="1">
            <p:ph type="body" sz="quarter" idx="13" hasCustomPrompt="1"/>
          </p:nvPr>
        </p:nvSpPr>
        <p:spPr>
          <a:xfrm>
            <a:off x="358776" y="1327355"/>
            <a:ext cx="4676774" cy="396000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accent3"/>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accent4"/>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accent4"/>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2" name="Legal dynamic" descr="{&quot;templafy&quot;:{&quot;id&quot;:&quot;71578e27-2c8b-4fea-a0cc-0a265b023614&quot;}}" title="Form.Cigna_Confidentiality.EvernorthConfidentiality">
            <a:extLst>
              <a:ext uri="{FF2B5EF4-FFF2-40B4-BE49-F238E27FC236}">
                <a16:creationId xmlns:a16="http://schemas.microsoft.com/office/drawing/2014/main" id="{C5AC1E1C-A5C9-9BAA-955A-997F9A5BCF63}"/>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6" name="Internal Stamp dynamic" descr="{&quot;templafy&quot;:{&quot;id&quot;:&quot;f01f3a1f-46db-4db4-94d8-f26111282f9e&quot;}}" title="Form.Cigna_Confidentiality.Cigna_confidentiality">
            <a:extLst>
              <a:ext uri="{FF2B5EF4-FFF2-40B4-BE49-F238E27FC236}">
                <a16:creationId xmlns:a16="http://schemas.microsoft.com/office/drawing/2014/main" id="{91243659-5596-BA74-1247-0A96F8F04F30}"/>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9" name="Dynamic logo dark mint" descr="{&quot;templafy&quot;:{&quot;id&quot;:&quot;bd68738e-b7b6-4d5f-be8c-e8cc60a7c1b0&quot;}}">
            <a:extLst>
              <a:ext uri="{FF2B5EF4-FFF2-40B4-BE49-F238E27FC236}">
                <a16:creationId xmlns:a16="http://schemas.microsoft.com/office/drawing/2014/main" id="{2A245407-BC45-DDE4-2E22-76C77C6D329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4" name="Date Placeholder 5">
            <a:extLst>
              <a:ext uri="{FF2B5EF4-FFF2-40B4-BE49-F238E27FC236}">
                <a16:creationId xmlns:a16="http://schemas.microsoft.com/office/drawing/2014/main" id="{5C0A820C-A79D-B7B3-F402-29B98CAB873C}"/>
              </a:ext>
            </a:extLst>
          </p:cNvPr>
          <p:cNvSpPr>
            <a:spLocks noGrp="1"/>
          </p:cNvSpPr>
          <p:nvPr>
            <p:ph type="dt" sz="half" idx="17"/>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40163807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 Quote and Image">
    <p:bg>
      <p:bgPr>
        <a:solidFill>
          <a:srgbClr val="008F83"/>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rgbClr val="008F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97" name="Group 96">
            <a:extLst>
              <a:ext uri="{FF2B5EF4-FFF2-40B4-BE49-F238E27FC236}">
                <a16:creationId xmlns:a16="http://schemas.microsoft.com/office/drawing/2014/main" id="{18274754-3A27-7A32-D25A-AB71EA22E7D2}"/>
              </a:ext>
            </a:extLst>
          </p:cNvPr>
          <p:cNvGrpSpPr>
            <a:grpSpLocks noGrp="1" noUngrp="1" noRot="1" noMove="1" noResize="1"/>
          </p:cNvGrpSpPr>
          <p:nvPr userDrawn="1"/>
        </p:nvGrpSpPr>
        <p:grpSpPr>
          <a:xfrm>
            <a:off x="3538575" y="4314726"/>
            <a:ext cx="8681999" cy="2543274"/>
            <a:chOff x="3538575" y="4314726"/>
            <a:chExt cx="8681999" cy="2543274"/>
          </a:xfrm>
        </p:grpSpPr>
        <p:sp>
          <p:nvSpPr>
            <p:cNvPr id="57" name="Freeform: Shape 56">
              <a:extLst>
                <a:ext uri="{FF2B5EF4-FFF2-40B4-BE49-F238E27FC236}">
                  <a16:creationId xmlns:a16="http://schemas.microsoft.com/office/drawing/2014/main" id="{66AC853B-3456-B1C4-A30D-0DD009F3F337}"/>
                </a:ext>
              </a:extLst>
            </p:cNvPr>
            <p:cNvSpPr>
              <a:spLocks noGrp="1" noRot="1" noMove="1" noResize="1" noEditPoints="1" noAdjustHandles="1" noChangeArrowheads="1" noChangeShapeType="1"/>
            </p:cNvSpPr>
            <p:nvPr userDrawn="1"/>
          </p:nvSpPr>
          <p:spPr>
            <a:xfrm>
              <a:off x="9086175" y="4314726"/>
              <a:ext cx="3134399" cy="2543274"/>
            </a:xfrm>
            <a:custGeom>
              <a:avLst/>
              <a:gdLst>
                <a:gd name="connsiteX0" fmla="*/ 1914660 w 3134399"/>
                <a:gd name="connsiteY0" fmla="*/ 0 h 2543274"/>
                <a:gd name="connsiteX1" fmla="*/ 2871990 w 3134399"/>
                <a:gd name="connsiteY1" fmla="*/ 0 h 2543274"/>
                <a:gd name="connsiteX2" fmla="*/ 3118253 w 3134399"/>
                <a:gd name="connsiteY2" fmla="*/ 116098 h 2543274"/>
                <a:gd name="connsiteX3" fmla="*/ 3134399 w 3134399"/>
                <a:gd name="connsiteY3" fmla="*/ 142718 h 2543274"/>
                <a:gd name="connsiteX4" fmla="*/ 3134399 w 3134399"/>
                <a:gd name="connsiteY4" fmla="*/ 2543274 h 2543274"/>
                <a:gd name="connsiteX5" fmla="*/ 0 w 3134399"/>
                <a:gd name="connsiteY5" fmla="*/ 2543274 h 2543274"/>
                <a:gd name="connsiteX6" fmla="*/ 0 w 3134399"/>
                <a:gd name="connsiteY6" fmla="*/ 1914659 h 2543274"/>
                <a:gd name="connsiteX7" fmla="*/ 319110 w 3134399"/>
                <a:gd name="connsiteY7" fmla="*/ 1595549 h 2543274"/>
                <a:gd name="connsiteX8" fmla="*/ 1356217 w 3134399"/>
                <a:gd name="connsiteY8" fmla="*/ 1595549 h 2543274"/>
                <a:gd name="connsiteX9" fmla="*/ 1595550 w 3134399"/>
                <a:gd name="connsiteY9" fmla="*/ 1356217 h 2543274"/>
                <a:gd name="connsiteX10" fmla="*/ 1595550 w 3134399"/>
                <a:gd name="connsiteY10" fmla="*/ 319110 h 2543274"/>
                <a:gd name="connsiteX11" fmla="*/ 1914660 w 3134399"/>
                <a:gd name="connsiteY11"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4399" h="2543274">
                  <a:moveTo>
                    <a:pt x="1914660" y="0"/>
                  </a:moveTo>
                  <a:lnTo>
                    <a:pt x="2871990" y="0"/>
                  </a:lnTo>
                  <a:cubicBezTo>
                    <a:pt x="2971163" y="0"/>
                    <a:pt x="3059735" y="45184"/>
                    <a:pt x="3118253" y="116098"/>
                  </a:cubicBezTo>
                  <a:lnTo>
                    <a:pt x="3134399" y="142718"/>
                  </a:lnTo>
                  <a:lnTo>
                    <a:pt x="313439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rgbClr val="3EFF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58" name="Freeform 17">
              <a:extLst>
                <a:ext uri="{FF2B5EF4-FFF2-40B4-BE49-F238E27FC236}">
                  <a16:creationId xmlns:a16="http://schemas.microsoft.com/office/drawing/2014/main" id="{549C1EAC-381C-CFB1-CA09-B651B3899B0F}"/>
                </a:ext>
              </a:extLst>
            </p:cNvPr>
            <p:cNvSpPr>
              <a:spLocks noGrp="1" noRot="1" noMove="1" noResize="1" noEditPoints="1" noAdjustHandles="1" noChangeArrowheads="1" noChangeShapeType="1"/>
            </p:cNvSpPr>
            <p:nvPr userDrawn="1"/>
          </p:nvSpPr>
          <p:spPr>
            <a:xfrm>
              <a:off x="3538575" y="4314726"/>
              <a:ext cx="4752000" cy="2543274"/>
            </a:xfrm>
            <a:custGeom>
              <a:avLst/>
              <a:gdLst>
                <a:gd name="connsiteX0" fmla="*/ 1914660 w 4786649"/>
                <a:gd name="connsiteY0" fmla="*/ 0 h 2543274"/>
                <a:gd name="connsiteX1" fmla="*/ 2871990 w 4786649"/>
                <a:gd name="connsiteY1" fmla="*/ 0 h 2543274"/>
                <a:gd name="connsiteX2" fmla="*/ 3191100 w 4786649"/>
                <a:gd name="connsiteY2" fmla="*/ 319110 h 2543274"/>
                <a:gd name="connsiteX3" fmla="*/ 3191100 w 4786649"/>
                <a:gd name="connsiteY3" fmla="*/ 1356217 h 2543274"/>
                <a:gd name="connsiteX4" fmla="*/ 3430432 w 4786649"/>
                <a:gd name="connsiteY4" fmla="*/ 1595549 h 2543274"/>
                <a:gd name="connsiteX5" fmla="*/ 4467539 w 4786649"/>
                <a:gd name="connsiteY5" fmla="*/ 1595549 h 2543274"/>
                <a:gd name="connsiteX6" fmla="*/ 4786649 w 4786649"/>
                <a:gd name="connsiteY6" fmla="*/ 1914659 h 2543274"/>
                <a:gd name="connsiteX7" fmla="*/ 4786649 w 4786649"/>
                <a:gd name="connsiteY7" fmla="*/ 2543274 h 2543274"/>
                <a:gd name="connsiteX8" fmla="*/ 0 w 4786649"/>
                <a:gd name="connsiteY8" fmla="*/ 2543274 h 2543274"/>
                <a:gd name="connsiteX9" fmla="*/ 0 w 4786649"/>
                <a:gd name="connsiteY9" fmla="*/ 1914659 h 2543274"/>
                <a:gd name="connsiteX10" fmla="*/ 319110 w 4786649"/>
                <a:gd name="connsiteY10" fmla="*/ 1595549 h 2543274"/>
                <a:gd name="connsiteX11" fmla="*/ 1356217 w 4786649"/>
                <a:gd name="connsiteY11" fmla="*/ 1595549 h 2543274"/>
                <a:gd name="connsiteX12" fmla="*/ 1595550 w 4786649"/>
                <a:gd name="connsiteY12" fmla="*/ 1356217 h 2543274"/>
                <a:gd name="connsiteX13" fmla="*/ 1595550 w 4786649"/>
                <a:gd name="connsiteY13" fmla="*/ 319110 h 2543274"/>
                <a:gd name="connsiteX14" fmla="*/ 1914660 w 4786649"/>
                <a:gd name="connsiteY14"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6649" h="2543274">
                  <a:moveTo>
                    <a:pt x="1914660" y="0"/>
                  </a:moveTo>
                  <a:lnTo>
                    <a:pt x="2871990" y="0"/>
                  </a:lnTo>
                  <a:cubicBezTo>
                    <a:pt x="3048298" y="0"/>
                    <a:pt x="3191100" y="142802"/>
                    <a:pt x="3191100" y="319110"/>
                  </a:cubicBezTo>
                  <a:lnTo>
                    <a:pt x="3191100" y="1356217"/>
                  </a:lnTo>
                  <a:cubicBezTo>
                    <a:pt x="3191100" y="1488448"/>
                    <a:pt x="3298201" y="1595549"/>
                    <a:pt x="3430432" y="1595549"/>
                  </a:cubicBezTo>
                  <a:lnTo>
                    <a:pt x="4467539" y="1595549"/>
                  </a:lnTo>
                  <a:cubicBezTo>
                    <a:pt x="4643848" y="1595549"/>
                    <a:pt x="4786649" y="1738351"/>
                    <a:pt x="4786649" y="1914659"/>
                  </a:cubicBezTo>
                  <a:lnTo>
                    <a:pt x="478664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nvGrpSpPr>
            <p:cNvPr id="59" name="Group 58">
              <a:extLst>
                <a:ext uri="{FF2B5EF4-FFF2-40B4-BE49-F238E27FC236}">
                  <a16:creationId xmlns:a16="http://schemas.microsoft.com/office/drawing/2014/main" id="{784A2791-62D3-1D78-8080-36E4739C4F72}"/>
                </a:ext>
              </a:extLst>
            </p:cNvPr>
            <p:cNvGrpSpPr>
              <a:grpSpLocks noGrp="1" noUngrp="1" noRot="1" noMove="1" noResize="1"/>
            </p:cNvGrpSpPr>
            <p:nvPr userDrawn="1"/>
          </p:nvGrpSpPr>
          <p:grpSpPr>
            <a:xfrm>
              <a:off x="3731134" y="4555175"/>
              <a:ext cx="4366883" cy="2228438"/>
              <a:chOff x="3644852" y="4555175"/>
              <a:chExt cx="4366883" cy="2228438"/>
            </a:xfrm>
            <a:solidFill>
              <a:srgbClr val="008F83"/>
            </a:solidFill>
          </p:grpSpPr>
          <p:grpSp>
            <p:nvGrpSpPr>
              <p:cNvPr id="60" name="Group 59">
                <a:extLst>
                  <a:ext uri="{FF2B5EF4-FFF2-40B4-BE49-F238E27FC236}">
                    <a16:creationId xmlns:a16="http://schemas.microsoft.com/office/drawing/2014/main" id="{88840B0E-32BD-FCAF-CA38-6F664E9CAE05}"/>
                  </a:ext>
                </a:extLst>
              </p:cNvPr>
              <p:cNvGrpSpPr>
                <a:grpSpLocks noGrp="1" noUngrp="1" noRot="1" noMove="1" noResize="1"/>
              </p:cNvGrpSpPr>
              <p:nvPr userDrawn="1"/>
            </p:nvGrpSpPr>
            <p:grpSpPr>
              <a:xfrm>
                <a:off x="5248227" y="4555175"/>
                <a:ext cx="1160133" cy="621888"/>
                <a:chOff x="5248227" y="4555175"/>
                <a:chExt cx="1160133" cy="621888"/>
              </a:xfrm>
              <a:grpFill/>
            </p:grpSpPr>
            <p:grpSp>
              <p:nvGrpSpPr>
                <p:cNvPr id="89" name="Group 88">
                  <a:extLst>
                    <a:ext uri="{FF2B5EF4-FFF2-40B4-BE49-F238E27FC236}">
                      <a16:creationId xmlns:a16="http://schemas.microsoft.com/office/drawing/2014/main" id="{9C71D04A-BE21-2FD7-9112-F63BD6018D17}"/>
                    </a:ext>
                  </a:extLst>
                </p:cNvPr>
                <p:cNvGrpSpPr>
                  <a:grpSpLocks noGrp="1" noUngrp="1" noRot="1" noMove="1" noResize="1"/>
                </p:cNvGrpSpPr>
                <p:nvPr userDrawn="1"/>
              </p:nvGrpSpPr>
              <p:grpSpPr>
                <a:xfrm>
                  <a:off x="5248227" y="4555175"/>
                  <a:ext cx="1160133" cy="88488"/>
                  <a:chOff x="5248227" y="4555175"/>
                  <a:chExt cx="1160133" cy="88488"/>
                </a:xfrm>
                <a:grpFill/>
              </p:grpSpPr>
              <p:sp>
                <p:nvSpPr>
                  <p:cNvPr id="94" name="Freeform 95">
                    <a:extLst>
                      <a:ext uri="{FF2B5EF4-FFF2-40B4-BE49-F238E27FC236}">
                        <a16:creationId xmlns:a16="http://schemas.microsoft.com/office/drawing/2014/main" id="{424778BE-A234-234F-0F80-D4CF988A1AED}"/>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5">
                    <a:extLst>
                      <a:ext uri="{FF2B5EF4-FFF2-40B4-BE49-F238E27FC236}">
                        <a16:creationId xmlns:a16="http://schemas.microsoft.com/office/drawing/2014/main" id="{F1567979-1868-6549-92F1-D8D21A8B9F26}"/>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5">
                    <a:extLst>
                      <a:ext uri="{FF2B5EF4-FFF2-40B4-BE49-F238E27FC236}">
                        <a16:creationId xmlns:a16="http://schemas.microsoft.com/office/drawing/2014/main" id="{930C9143-CE5A-36E4-3BC6-3D23C41885A7}"/>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8C655A00-9F4B-A363-5974-89D35E2393CC}"/>
                    </a:ext>
                  </a:extLst>
                </p:cNvPr>
                <p:cNvGrpSpPr>
                  <a:grpSpLocks noGrp="1" noUngrp="1" noRot="1" noMove="1" noResize="1"/>
                </p:cNvGrpSpPr>
                <p:nvPr userDrawn="1"/>
              </p:nvGrpSpPr>
              <p:grpSpPr>
                <a:xfrm>
                  <a:off x="5248227" y="5088575"/>
                  <a:ext cx="1160133" cy="88488"/>
                  <a:chOff x="5248227" y="4555175"/>
                  <a:chExt cx="1160133" cy="88488"/>
                </a:xfrm>
                <a:grpFill/>
              </p:grpSpPr>
              <p:sp>
                <p:nvSpPr>
                  <p:cNvPr id="91" name="Freeform 95">
                    <a:extLst>
                      <a:ext uri="{FF2B5EF4-FFF2-40B4-BE49-F238E27FC236}">
                        <a16:creationId xmlns:a16="http://schemas.microsoft.com/office/drawing/2014/main" id="{3F64E590-1020-59F8-973F-B821F2ED5D07}"/>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5">
                    <a:extLst>
                      <a:ext uri="{FF2B5EF4-FFF2-40B4-BE49-F238E27FC236}">
                        <a16:creationId xmlns:a16="http://schemas.microsoft.com/office/drawing/2014/main" id="{C8DA0949-457C-DC4D-0EF6-6658FCCC2A24}"/>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5">
                    <a:extLst>
                      <a:ext uri="{FF2B5EF4-FFF2-40B4-BE49-F238E27FC236}">
                        <a16:creationId xmlns:a16="http://schemas.microsoft.com/office/drawing/2014/main" id="{2C8DE873-C1BB-57C0-B9E7-EBFDB06990E2}"/>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1" name="Group 60">
                <a:extLst>
                  <a:ext uri="{FF2B5EF4-FFF2-40B4-BE49-F238E27FC236}">
                    <a16:creationId xmlns:a16="http://schemas.microsoft.com/office/drawing/2014/main" id="{FA48A02D-D31E-EE6A-E3FE-610755D6640A}"/>
                  </a:ext>
                </a:extLst>
              </p:cNvPr>
              <p:cNvGrpSpPr>
                <a:grpSpLocks noGrp="1" noUngrp="1" noRot="1" noMove="1" noResize="1"/>
              </p:cNvGrpSpPr>
              <p:nvPr userDrawn="1"/>
            </p:nvGrpSpPr>
            <p:grpSpPr>
              <a:xfrm>
                <a:off x="5248227" y="5625150"/>
                <a:ext cx="1160133" cy="88488"/>
                <a:chOff x="5248227" y="4555175"/>
                <a:chExt cx="1160133" cy="88488"/>
              </a:xfrm>
              <a:grpFill/>
            </p:grpSpPr>
            <p:sp>
              <p:nvSpPr>
                <p:cNvPr id="86" name="Freeform 95">
                  <a:extLst>
                    <a:ext uri="{FF2B5EF4-FFF2-40B4-BE49-F238E27FC236}">
                      <a16:creationId xmlns:a16="http://schemas.microsoft.com/office/drawing/2014/main" id="{6BC73CF9-20AD-7301-7E96-785DEF2E4DE0}"/>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5">
                  <a:extLst>
                    <a:ext uri="{FF2B5EF4-FFF2-40B4-BE49-F238E27FC236}">
                      <a16:creationId xmlns:a16="http://schemas.microsoft.com/office/drawing/2014/main" id="{223C381C-BFFE-B985-E43D-A422E515B929}"/>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5">
                  <a:extLst>
                    <a:ext uri="{FF2B5EF4-FFF2-40B4-BE49-F238E27FC236}">
                      <a16:creationId xmlns:a16="http://schemas.microsoft.com/office/drawing/2014/main" id="{1F4DF2A3-66F8-26E8-D416-9E6E4E79F1BF}"/>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 name="Group 61">
                <a:extLst>
                  <a:ext uri="{FF2B5EF4-FFF2-40B4-BE49-F238E27FC236}">
                    <a16:creationId xmlns:a16="http://schemas.microsoft.com/office/drawing/2014/main" id="{DDB7BA4E-DC11-6FBC-7D97-951EB0D390EF}"/>
                  </a:ext>
                </a:extLst>
              </p:cNvPr>
              <p:cNvGrpSpPr>
                <a:grpSpLocks noGrp="1" noUngrp="1" noRot="1" noMove="1" noResize="1"/>
              </p:cNvGrpSpPr>
              <p:nvPr userDrawn="1"/>
            </p:nvGrpSpPr>
            <p:grpSpPr>
              <a:xfrm>
                <a:off x="5248227" y="6158550"/>
                <a:ext cx="1160133" cy="88488"/>
                <a:chOff x="5248227" y="4555175"/>
                <a:chExt cx="1160133" cy="88488"/>
              </a:xfrm>
              <a:grpFill/>
            </p:grpSpPr>
            <p:sp>
              <p:nvSpPr>
                <p:cNvPr id="83" name="Freeform 95">
                  <a:extLst>
                    <a:ext uri="{FF2B5EF4-FFF2-40B4-BE49-F238E27FC236}">
                      <a16:creationId xmlns:a16="http://schemas.microsoft.com/office/drawing/2014/main" id="{74B242FE-5747-B64D-F77C-E9EA0202211F}"/>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95">
                  <a:extLst>
                    <a:ext uri="{FF2B5EF4-FFF2-40B4-BE49-F238E27FC236}">
                      <a16:creationId xmlns:a16="http://schemas.microsoft.com/office/drawing/2014/main" id="{676C19E4-8392-2C67-6921-3AE800C04D50}"/>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5">
                  <a:extLst>
                    <a:ext uri="{FF2B5EF4-FFF2-40B4-BE49-F238E27FC236}">
                      <a16:creationId xmlns:a16="http://schemas.microsoft.com/office/drawing/2014/main" id="{305913DB-2347-7813-F59F-E40334445F4D}"/>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 62">
                <a:extLst>
                  <a:ext uri="{FF2B5EF4-FFF2-40B4-BE49-F238E27FC236}">
                    <a16:creationId xmlns:a16="http://schemas.microsoft.com/office/drawing/2014/main" id="{36140475-B842-7510-907D-7AD30C31DD0C}"/>
                  </a:ext>
                </a:extLst>
              </p:cNvPr>
              <p:cNvGrpSpPr>
                <a:grpSpLocks noGrp="1" noUngrp="1" noRot="1" noMove="1" noResize="1"/>
              </p:cNvGrpSpPr>
              <p:nvPr userDrawn="1"/>
            </p:nvGrpSpPr>
            <p:grpSpPr>
              <a:xfrm>
                <a:off x="3644852" y="6158550"/>
                <a:ext cx="1160133" cy="88488"/>
                <a:chOff x="5248227" y="4555175"/>
                <a:chExt cx="1160133" cy="88488"/>
              </a:xfrm>
              <a:grpFill/>
            </p:grpSpPr>
            <p:sp>
              <p:nvSpPr>
                <p:cNvPr id="80" name="Freeform 95">
                  <a:extLst>
                    <a:ext uri="{FF2B5EF4-FFF2-40B4-BE49-F238E27FC236}">
                      <a16:creationId xmlns:a16="http://schemas.microsoft.com/office/drawing/2014/main" id="{6FBACA6D-0CF6-BF3A-BC35-56A7CE35EF58}"/>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95">
                  <a:extLst>
                    <a:ext uri="{FF2B5EF4-FFF2-40B4-BE49-F238E27FC236}">
                      <a16:creationId xmlns:a16="http://schemas.microsoft.com/office/drawing/2014/main" id="{F19CA27B-660D-55FE-384B-7E13A519CD23}"/>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95">
                  <a:extLst>
                    <a:ext uri="{FF2B5EF4-FFF2-40B4-BE49-F238E27FC236}">
                      <a16:creationId xmlns:a16="http://schemas.microsoft.com/office/drawing/2014/main" id="{C9311207-F457-D42E-C945-2F91F110E3DE}"/>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oup 63">
                <a:extLst>
                  <a:ext uri="{FF2B5EF4-FFF2-40B4-BE49-F238E27FC236}">
                    <a16:creationId xmlns:a16="http://schemas.microsoft.com/office/drawing/2014/main" id="{33540548-BF19-4724-D8E8-DE0623E35FC3}"/>
                  </a:ext>
                </a:extLst>
              </p:cNvPr>
              <p:cNvGrpSpPr>
                <a:grpSpLocks noGrp="1" noUngrp="1" noRot="1" noMove="1" noResize="1"/>
              </p:cNvGrpSpPr>
              <p:nvPr userDrawn="1"/>
            </p:nvGrpSpPr>
            <p:grpSpPr>
              <a:xfrm>
                <a:off x="6851602" y="6158550"/>
                <a:ext cx="1160133" cy="88488"/>
                <a:chOff x="5248227" y="4555175"/>
                <a:chExt cx="1160133" cy="88488"/>
              </a:xfrm>
              <a:grpFill/>
            </p:grpSpPr>
            <p:sp>
              <p:nvSpPr>
                <p:cNvPr id="77" name="Freeform 95">
                  <a:extLst>
                    <a:ext uri="{FF2B5EF4-FFF2-40B4-BE49-F238E27FC236}">
                      <a16:creationId xmlns:a16="http://schemas.microsoft.com/office/drawing/2014/main" id="{73179480-32B1-CB20-72F7-2D3E73B6EECC}"/>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95">
                  <a:extLst>
                    <a:ext uri="{FF2B5EF4-FFF2-40B4-BE49-F238E27FC236}">
                      <a16:creationId xmlns:a16="http://schemas.microsoft.com/office/drawing/2014/main" id="{D75FA4FE-BCF4-58EA-00B8-26060D2ADDB8}"/>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95">
                  <a:extLst>
                    <a:ext uri="{FF2B5EF4-FFF2-40B4-BE49-F238E27FC236}">
                      <a16:creationId xmlns:a16="http://schemas.microsoft.com/office/drawing/2014/main" id="{8637F1C8-0F9D-9D5B-F1E6-03DFA441B0C6}"/>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 name="Group 64">
                <a:extLst>
                  <a:ext uri="{FF2B5EF4-FFF2-40B4-BE49-F238E27FC236}">
                    <a16:creationId xmlns:a16="http://schemas.microsoft.com/office/drawing/2014/main" id="{970127B0-8D72-7E1A-76F4-5FBCE6C9A3E7}"/>
                  </a:ext>
                </a:extLst>
              </p:cNvPr>
              <p:cNvGrpSpPr>
                <a:grpSpLocks noGrp="1" noUngrp="1" noRot="1" noMove="1" noResize="1"/>
              </p:cNvGrpSpPr>
              <p:nvPr userDrawn="1"/>
            </p:nvGrpSpPr>
            <p:grpSpPr>
              <a:xfrm>
                <a:off x="5248227" y="6695125"/>
                <a:ext cx="1160133" cy="88488"/>
                <a:chOff x="5248227" y="4555175"/>
                <a:chExt cx="1160133" cy="88488"/>
              </a:xfrm>
              <a:grpFill/>
            </p:grpSpPr>
            <p:sp>
              <p:nvSpPr>
                <p:cNvPr id="74" name="Freeform 95">
                  <a:extLst>
                    <a:ext uri="{FF2B5EF4-FFF2-40B4-BE49-F238E27FC236}">
                      <a16:creationId xmlns:a16="http://schemas.microsoft.com/office/drawing/2014/main" id="{7CD5998D-6F5A-FB7B-9F95-B906CFE939A9}"/>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95">
                  <a:extLst>
                    <a:ext uri="{FF2B5EF4-FFF2-40B4-BE49-F238E27FC236}">
                      <a16:creationId xmlns:a16="http://schemas.microsoft.com/office/drawing/2014/main" id="{CAFA89F2-7102-946C-DAC0-8ED6F9832B1C}"/>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95">
                  <a:extLst>
                    <a:ext uri="{FF2B5EF4-FFF2-40B4-BE49-F238E27FC236}">
                      <a16:creationId xmlns:a16="http://schemas.microsoft.com/office/drawing/2014/main" id="{0172026A-D930-6359-5A8A-BEAB59F536D0}"/>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6" name="Group 65">
                <a:extLst>
                  <a:ext uri="{FF2B5EF4-FFF2-40B4-BE49-F238E27FC236}">
                    <a16:creationId xmlns:a16="http://schemas.microsoft.com/office/drawing/2014/main" id="{2F5B7406-2D3C-94AF-4DA5-4370A78D9479}"/>
                  </a:ext>
                </a:extLst>
              </p:cNvPr>
              <p:cNvGrpSpPr>
                <a:grpSpLocks noGrp="1" noUngrp="1" noRot="1" noMove="1" noResize="1"/>
              </p:cNvGrpSpPr>
              <p:nvPr userDrawn="1"/>
            </p:nvGrpSpPr>
            <p:grpSpPr>
              <a:xfrm>
                <a:off x="3644852" y="6695125"/>
                <a:ext cx="1160133" cy="88488"/>
                <a:chOff x="5248227" y="4555175"/>
                <a:chExt cx="1160133" cy="88488"/>
              </a:xfrm>
              <a:grpFill/>
            </p:grpSpPr>
            <p:sp>
              <p:nvSpPr>
                <p:cNvPr id="71" name="Freeform 95">
                  <a:extLst>
                    <a:ext uri="{FF2B5EF4-FFF2-40B4-BE49-F238E27FC236}">
                      <a16:creationId xmlns:a16="http://schemas.microsoft.com/office/drawing/2014/main" id="{6E4C7DCB-0BC2-CEA8-2019-A82CC3279286}"/>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95">
                  <a:extLst>
                    <a:ext uri="{FF2B5EF4-FFF2-40B4-BE49-F238E27FC236}">
                      <a16:creationId xmlns:a16="http://schemas.microsoft.com/office/drawing/2014/main" id="{3207CE0A-FE49-CEC0-933F-5274C30D8842}"/>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95">
                  <a:extLst>
                    <a:ext uri="{FF2B5EF4-FFF2-40B4-BE49-F238E27FC236}">
                      <a16:creationId xmlns:a16="http://schemas.microsoft.com/office/drawing/2014/main" id="{71C6A356-CD89-5AA4-6597-1BF11056BEE4}"/>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7" name="Group 66">
                <a:extLst>
                  <a:ext uri="{FF2B5EF4-FFF2-40B4-BE49-F238E27FC236}">
                    <a16:creationId xmlns:a16="http://schemas.microsoft.com/office/drawing/2014/main" id="{A004D100-08F3-3557-067D-D19946C9BC0C}"/>
                  </a:ext>
                </a:extLst>
              </p:cNvPr>
              <p:cNvGrpSpPr>
                <a:grpSpLocks noGrp="1" noUngrp="1" noRot="1" noMove="1" noResize="1"/>
              </p:cNvGrpSpPr>
              <p:nvPr userDrawn="1"/>
            </p:nvGrpSpPr>
            <p:grpSpPr>
              <a:xfrm>
                <a:off x="6851602" y="6695125"/>
                <a:ext cx="1160133" cy="88488"/>
                <a:chOff x="5248227" y="4555175"/>
                <a:chExt cx="1160133" cy="88488"/>
              </a:xfrm>
              <a:grpFill/>
            </p:grpSpPr>
            <p:sp>
              <p:nvSpPr>
                <p:cNvPr id="68" name="Freeform 95">
                  <a:extLst>
                    <a:ext uri="{FF2B5EF4-FFF2-40B4-BE49-F238E27FC236}">
                      <a16:creationId xmlns:a16="http://schemas.microsoft.com/office/drawing/2014/main" id="{721A4F82-2AD3-66D7-2628-D91E045FE49C}"/>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95">
                  <a:extLst>
                    <a:ext uri="{FF2B5EF4-FFF2-40B4-BE49-F238E27FC236}">
                      <a16:creationId xmlns:a16="http://schemas.microsoft.com/office/drawing/2014/main" id="{755C3D09-2B2E-AAD4-AD0F-4764BE26C8EB}"/>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95">
                  <a:extLst>
                    <a:ext uri="{FF2B5EF4-FFF2-40B4-BE49-F238E27FC236}">
                      <a16:creationId xmlns:a16="http://schemas.microsoft.com/office/drawing/2014/main" id="{CCF64737-3DB4-5C34-8A38-53A24062AE9D}"/>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6" name="Pictureplaceholder">
            <a:extLst>
              <a:ext uri="{FF2B5EF4-FFF2-40B4-BE49-F238E27FC236}">
                <a16:creationId xmlns:a16="http://schemas.microsoft.com/office/drawing/2014/main" id="{9315929D-D762-A5C0-0D8B-DAEC35D69CA9}"/>
              </a:ext>
            </a:extLst>
          </p:cNvPr>
          <p:cNvSpPr>
            <a:spLocks noGrp="1" noChangeAspect="1"/>
          </p:cNvSpPr>
          <p:nvPr userDrawn="1">
            <p:ph type="pic" sz="quarter" idx="17"/>
          </p:nvPr>
        </p:nvSpPr>
        <p:spPr>
          <a:xfrm>
            <a:off x="6307200" y="355510"/>
            <a:ext cx="4737600" cy="4737600"/>
          </a:xfrm>
          <a:custGeom>
            <a:avLst/>
            <a:gdLst>
              <a:gd name="connsiteX0" fmla="*/ 1893604 w 4734000"/>
              <a:gd name="connsiteY0" fmla="*/ 0 h 4734000"/>
              <a:gd name="connsiteX1" fmla="*/ 2841049 w 4734000"/>
              <a:gd name="connsiteY1" fmla="*/ 0 h 4734000"/>
              <a:gd name="connsiteX2" fmla="*/ 3156821 w 4734000"/>
              <a:gd name="connsiteY2" fmla="*/ 315772 h 4734000"/>
              <a:gd name="connsiteX3" fmla="*/ 3156821 w 4734000"/>
              <a:gd name="connsiteY3" fmla="*/ 1342547 h 4734000"/>
              <a:gd name="connsiteX4" fmla="*/ 3393650 w 4734000"/>
              <a:gd name="connsiteY4" fmla="*/ 1579376 h 4734000"/>
              <a:gd name="connsiteX5" fmla="*/ 4420167 w 4734000"/>
              <a:gd name="connsiteY5" fmla="*/ 1579376 h 4734000"/>
              <a:gd name="connsiteX6" fmla="*/ 4729524 w 4734000"/>
              <a:gd name="connsiteY6" fmla="*/ 1831509 h 4734000"/>
              <a:gd name="connsiteX7" fmla="*/ 4734000 w 4734000"/>
              <a:gd name="connsiteY7" fmla="*/ 1875914 h 4734000"/>
              <a:gd name="connsiteX8" fmla="*/ 4734000 w 4734000"/>
              <a:gd name="connsiteY8" fmla="*/ 2861827 h 4734000"/>
              <a:gd name="connsiteX9" fmla="*/ 4729524 w 4734000"/>
              <a:gd name="connsiteY9" fmla="*/ 2906232 h 4734000"/>
              <a:gd name="connsiteX10" fmla="*/ 4420167 w 4734000"/>
              <a:gd name="connsiteY10" fmla="*/ 3158365 h 4734000"/>
              <a:gd name="connsiteX11" fmla="*/ 3393650 w 4734000"/>
              <a:gd name="connsiteY11" fmla="*/ 3158365 h 4734000"/>
              <a:gd name="connsiteX12" fmla="*/ 3156821 w 4734000"/>
              <a:gd name="connsiteY12" fmla="*/ 3395194 h 4734000"/>
              <a:gd name="connsiteX13" fmla="*/ 3156821 w 4734000"/>
              <a:gd name="connsiteY13" fmla="*/ 4421711 h 4734000"/>
              <a:gd name="connsiteX14" fmla="*/ 2904688 w 4734000"/>
              <a:gd name="connsiteY14" fmla="*/ 4731068 h 4734000"/>
              <a:gd name="connsiteX15" fmla="*/ 2875601 w 4734000"/>
              <a:gd name="connsiteY15" fmla="*/ 4734000 h 4734000"/>
              <a:gd name="connsiteX16" fmla="*/ 1861483 w 4734000"/>
              <a:gd name="connsiteY16" fmla="*/ 4734000 h 4734000"/>
              <a:gd name="connsiteX17" fmla="*/ 1829836 w 4734000"/>
              <a:gd name="connsiteY17" fmla="*/ 4730810 h 4734000"/>
              <a:gd name="connsiteX18" fmla="*/ 1577703 w 4734000"/>
              <a:gd name="connsiteY18" fmla="*/ 4421453 h 4734000"/>
              <a:gd name="connsiteX19" fmla="*/ 1577703 w 4734000"/>
              <a:gd name="connsiteY19" fmla="*/ 3394936 h 4734000"/>
              <a:gd name="connsiteX20" fmla="*/ 1340874 w 4734000"/>
              <a:gd name="connsiteY20" fmla="*/ 3158107 h 4734000"/>
              <a:gd name="connsiteX21" fmla="*/ 314357 w 4734000"/>
              <a:gd name="connsiteY21" fmla="*/ 3158107 h 4734000"/>
              <a:gd name="connsiteX22" fmla="*/ 5001 w 4734000"/>
              <a:gd name="connsiteY22" fmla="*/ 2905974 h 4734000"/>
              <a:gd name="connsiteX23" fmla="*/ 0 w 4734000"/>
              <a:gd name="connsiteY23" fmla="*/ 2856372 h 4734000"/>
              <a:gd name="connsiteX24" fmla="*/ 0 w 4734000"/>
              <a:gd name="connsiteY24" fmla="*/ 1880853 h 4734000"/>
              <a:gd name="connsiteX25" fmla="*/ 5001 w 4734000"/>
              <a:gd name="connsiteY25" fmla="*/ 1831251 h 4734000"/>
              <a:gd name="connsiteX26" fmla="*/ 314357 w 4734000"/>
              <a:gd name="connsiteY26" fmla="*/ 1579118 h 4734000"/>
              <a:gd name="connsiteX27" fmla="*/ 1341003 w 4734000"/>
              <a:gd name="connsiteY27" fmla="*/ 1579118 h 4734000"/>
              <a:gd name="connsiteX28" fmla="*/ 1577832 w 4734000"/>
              <a:gd name="connsiteY28" fmla="*/ 1342289 h 4734000"/>
              <a:gd name="connsiteX29" fmla="*/ 1577832 w 4734000"/>
              <a:gd name="connsiteY29" fmla="*/ 315772 h 4734000"/>
              <a:gd name="connsiteX30" fmla="*/ 1893604 w 4734000"/>
              <a:gd name="connsiteY30" fmla="*/ 0 h 473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734000" h="4734000">
                <a:moveTo>
                  <a:pt x="1893604" y="0"/>
                </a:moveTo>
                <a:lnTo>
                  <a:pt x="2841049" y="0"/>
                </a:lnTo>
                <a:cubicBezTo>
                  <a:pt x="3015446" y="0"/>
                  <a:pt x="3156821" y="141375"/>
                  <a:pt x="3156821" y="315772"/>
                </a:cubicBezTo>
                <a:lnTo>
                  <a:pt x="3156821" y="1342547"/>
                </a:lnTo>
                <a:cubicBezTo>
                  <a:pt x="3156821" y="1473345"/>
                  <a:pt x="3262852" y="1579376"/>
                  <a:pt x="3393650" y="1579376"/>
                </a:cubicBezTo>
                <a:lnTo>
                  <a:pt x="4420167" y="1579376"/>
                </a:lnTo>
                <a:cubicBezTo>
                  <a:pt x="4572764" y="1579376"/>
                  <a:pt x="4700079" y="1687616"/>
                  <a:pt x="4729524" y="1831509"/>
                </a:cubicBezTo>
                <a:lnTo>
                  <a:pt x="4734000" y="1875914"/>
                </a:lnTo>
                <a:lnTo>
                  <a:pt x="4734000" y="2861827"/>
                </a:lnTo>
                <a:lnTo>
                  <a:pt x="4729524" y="2906232"/>
                </a:lnTo>
                <a:cubicBezTo>
                  <a:pt x="4700079" y="3050125"/>
                  <a:pt x="4572764" y="3158365"/>
                  <a:pt x="4420167" y="3158365"/>
                </a:cubicBezTo>
                <a:lnTo>
                  <a:pt x="3393650" y="3158365"/>
                </a:lnTo>
                <a:cubicBezTo>
                  <a:pt x="3262852" y="3158365"/>
                  <a:pt x="3156821" y="3264396"/>
                  <a:pt x="3156821" y="3395194"/>
                </a:cubicBezTo>
                <a:lnTo>
                  <a:pt x="3156821" y="4421711"/>
                </a:lnTo>
                <a:cubicBezTo>
                  <a:pt x="3156821" y="4574309"/>
                  <a:pt x="3048581" y="4701624"/>
                  <a:pt x="2904688" y="4731068"/>
                </a:cubicBezTo>
                <a:lnTo>
                  <a:pt x="2875601" y="4734000"/>
                </a:lnTo>
                <a:lnTo>
                  <a:pt x="1861483" y="4734000"/>
                </a:lnTo>
                <a:lnTo>
                  <a:pt x="1829836" y="4730810"/>
                </a:lnTo>
                <a:cubicBezTo>
                  <a:pt x="1685944" y="4701366"/>
                  <a:pt x="1577703" y="4574051"/>
                  <a:pt x="1577703" y="4421453"/>
                </a:cubicBezTo>
                <a:lnTo>
                  <a:pt x="1577703" y="3394936"/>
                </a:lnTo>
                <a:cubicBezTo>
                  <a:pt x="1577703" y="3264138"/>
                  <a:pt x="1471672" y="3158107"/>
                  <a:pt x="1340874" y="3158107"/>
                </a:cubicBezTo>
                <a:lnTo>
                  <a:pt x="314357" y="3158107"/>
                </a:lnTo>
                <a:cubicBezTo>
                  <a:pt x="161760" y="3158107"/>
                  <a:pt x="34445" y="3049867"/>
                  <a:pt x="5001" y="2905974"/>
                </a:cubicBezTo>
                <a:lnTo>
                  <a:pt x="0" y="2856372"/>
                </a:lnTo>
                <a:lnTo>
                  <a:pt x="0" y="1880853"/>
                </a:lnTo>
                <a:lnTo>
                  <a:pt x="5001" y="1831251"/>
                </a:lnTo>
                <a:cubicBezTo>
                  <a:pt x="34445" y="1687358"/>
                  <a:pt x="161760" y="1579118"/>
                  <a:pt x="314357" y="1579118"/>
                </a:cubicBezTo>
                <a:lnTo>
                  <a:pt x="1341003" y="1579118"/>
                </a:lnTo>
                <a:cubicBezTo>
                  <a:pt x="1471801" y="1579118"/>
                  <a:pt x="1577832" y="1473087"/>
                  <a:pt x="1577832" y="1342289"/>
                </a:cubicBezTo>
                <a:lnTo>
                  <a:pt x="1577832" y="315772"/>
                </a:lnTo>
                <a:cubicBezTo>
                  <a:pt x="1577832" y="141375"/>
                  <a:pt x="1719207" y="0"/>
                  <a:pt x="1893604" y="0"/>
                </a:cubicBezTo>
                <a:close/>
              </a:path>
            </a:pathLst>
          </a:custGeom>
          <a:solidFill>
            <a:srgbClr val="BFBFBF"/>
          </a:solidFill>
        </p:spPr>
        <p:txBody>
          <a:bodyPr wrap="square" tIns="576000" anchor="ctr" anchorCtr="0">
            <a:noAutofit/>
          </a:bodyPr>
          <a:lstStyle>
            <a:lvl1pPr marL="0" indent="0" algn="ctr">
              <a:buNone/>
              <a:defRPr sz="1600">
                <a:solidFill>
                  <a:schemeClr val="bg1"/>
                </a:solidFill>
              </a:defRPr>
            </a:lvl1pPr>
          </a:lstStyle>
          <a:p>
            <a:r>
              <a:rPr lang="en-US"/>
              <a:t>Click icon to add picture</a:t>
            </a:r>
          </a:p>
        </p:txBody>
      </p:sp>
      <p:sp>
        <p:nvSpPr>
          <p:cNvPr id="12" name="Text Placeholder 2">
            <a:extLst>
              <a:ext uri="{FF2B5EF4-FFF2-40B4-BE49-F238E27FC236}">
                <a16:creationId xmlns:a16="http://schemas.microsoft.com/office/drawing/2014/main" id="{2F83CEE2-D054-32A0-6C60-6A2F9D650ADE}"/>
              </a:ext>
            </a:extLst>
          </p:cNvPr>
          <p:cNvSpPr>
            <a:spLocks noGrp="1"/>
          </p:cNvSpPr>
          <p:nvPr userDrawn="1">
            <p:ph type="body" sz="quarter" idx="13" hasCustomPrompt="1"/>
          </p:nvPr>
        </p:nvSpPr>
        <p:spPr>
          <a:xfrm>
            <a:off x="358776" y="1327356"/>
            <a:ext cx="4676774" cy="396000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tx2"/>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tx2"/>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4" name="Legal dynamic" descr="{&quot;templafy&quot;:{&quot;id&quot;:&quot;3c55543a-7e3e-4891-96ae-af1162c2e982&quot;}}" title="Form.Cigna_Confidentiality.EvernorthConfidentiality">
            <a:extLst>
              <a:ext uri="{FF2B5EF4-FFF2-40B4-BE49-F238E27FC236}">
                <a16:creationId xmlns:a16="http://schemas.microsoft.com/office/drawing/2014/main" id="{7551AE01-EE7C-0BFC-DDDB-F7BD048FCB81}"/>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02F3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3a0803cc-2c79-497c-b183-0a60e1ce7ca8&quot;}}" title="Form.Cigna_Confidentiality.Cigna_confidentiality">
            <a:extLst>
              <a:ext uri="{FF2B5EF4-FFF2-40B4-BE49-F238E27FC236}">
                <a16:creationId xmlns:a16="http://schemas.microsoft.com/office/drawing/2014/main" id="{81FC5392-C6AA-30C1-C596-4C3C7B220DC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02F3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c57e3882-cd26-4a92-a7f5-11d50f6c258f&quot;}}">
            <a:extLst>
              <a:ext uri="{FF2B5EF4-FFF2-40B4-BE49-F238E27FC236}">
                <a16:creationId xmlns:a16="http://schemas.microsoft.com/office/drawing/2014/main" id="{1593FB31-7D4D-C5AF-F71D-094FD7EA3F9B}"/>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7" name="Date Placeholder 5">
            <a:extLst>
              <a:ext uri="{FF2B5EF4-FFF2-40B4-BE49-F238E27FC236}">
                <a16:creationId xmlns:a16="http://schemas.microsoft.com/office/drawing/2014/main" id="{4D48462C-FE43-8DF8-CAAC-1449A8D3CCF0}"/>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768010401"/>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 Quote and Image">
    <p:bg>
      <p:bgPr>
        <a:solidFill>
          <a:srgbClr val="035C67"/>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CF02C55-7208-48B3-80BE-7F51B362FBEA}"/>
              </a:ext>
            </a:extLst>
          </p:cNvPr>
          <p:cNvSpPr>
            <a:spLocks noGrp="1" noRot="1" noMove="1" noResize="1" noEditPoints="1" noAdjustHandles="1" noChangeArrowheads="1" noChangeShapeType="1"/>
          </p:cNvSpPr>
          <p:nvPr userDrawn="1"/>
        </p:nvSpPr>
        <p:spPr bwMode="white">
          <a:xfrm>
            <a:off x="0" y="0"/>
            <a:ext cx="121920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1"/>
              </a:solidFill>
            </a:endParaRPr>
          </a:p>
        </p:txBody>
      </p:sp>
      <p:grpSp>
        <p:nvGrpSpPr>
          <p:cNvPr id="67" name="Group 66">
            <a:extLst>
              <a:ext uri="{FF2B5EF4-FFF2-40B4-BE49-F238E27FC236}">
                <a16:creationId xmlns:a16="http://schemas.microsoft.com/office/drawing/2014/main" id="{AB10166E-4F94-4F96-F07B-3C5AE5FEEC08}"/>
              </a:ext>
            </a:extLst>
          </p:cNvPr>
          <p:cNvGrpSpPr>
            <a:grpSpLocks noGrp="1" noUngrp="1" noRot="1" noMove="1" noResize="1"/>
          </p:cNvGrpSpPr>
          <p:nvPr userDrawn="1"/>
        </p:nvGrpSpPr>
        <p:grpSpPr>
          <a:xfrm>
            <a:off x="3538575" y="4314726"/>
            <a:ext cx="8681999" cy="2543274"/>
            <a:chOff x="3538575" y="4314726"/>
            <a:chExt cx="8681999" cy="2543274"/>
          </a:xfrm>
        </p:grpSpPr>
        <p:sp>
          <p:nvSpPr>
            <p:cNvPr id="11" name="Freeform: Shape 10">
              <a:extLst>
                <a:ext uri="{FF2B5EF4-FFF2-40B4-BE49-F238E27FC236}">
                  <a16:creationId xmlns:a16="http://schemas.microsoft.com/office/drawing/2014/main" id="{267D7CD5-D8E3-4613-43BC-EA48CD5778DD}"/>
                </a:ext>
              </a:extLst>
            </p:cNvPr>
            <p:cNvSpPr>
              <a:spLocks noGrp="1" noRot="1" noMove="1" noResize="1" noEditPoints="1" noAdjustHandles="1" noChangeArrowheads="1" noChangeShapeType="1"/>
            </p:cNvSpPr>
            <p:nvPr userDrawn="1"/>
          </p:nvSpPr>
          <p:spPr>
            <a:xfrm>
              <a:off x="9086175" y="4314726"/>
              <a:ext cx="3134399" cy="2543274"/>
            </a:xfrm>
            <a:custGeom>
              <a:avLst/>
              <a:gdLst>
                <a:gd name="connsiteX0" fmla="*/ 1914660 w 3134399"/>
                <a:gd name="connsiteY0" fmla="*/ 0 h 2543274"/>
                <a:gd name="connsiteX1" fmla="*/ 2871990 w 3134399"/>
                <a:gd name="connsiteY1" fmla="*/ 0 h 2543274"/>
                <a:gd name="connsiteX2" fmla="*/ 3118253 w 3134399"/>
                <a:gd name="connsiteY2" fmla="*/ 116098 h 2543274"/>
                <a:gd name="connsiteX3" fmla="*/ 3134399 w 3134399"/>
                <a:gd name="connsiteY3" fmla="*/ 142718 h 2543274"/>
                <a:gd name="connsiteX4" fmla="*/ 3134399 w 3134399"/>
                <a:gd name="connsiteY4" fmla="*/ 2543274 h 2543274"/>
                <a:gd name="connsiteX5" fmla="*/ 0 w 3134399"/>
                <a:gd name="connsiteY5" fmla="*/ 2543274 h 2543274"/>
                <a:gd name="connsiteX6" fmla="*/ 0 w 3134399"/>
                <a:gd name="connsiteY6" fmla="*/ 1914659 h 2543274"/>
                <a:gd name="connsiteX7" fmla="*/ 319110 w 3134399"/>
                <a:gd name="connsiteY7" fmla="*/ 1595549 h 2543274"/>
                <a:gd name="connsiteX8" fmla="*/ 1356217 w 3134399"/>
                <a:gd name="connsiteY8" fmla="*/ 1595549 h 2543274"/>
                <a:gd name="connsiteX9" fmla="*/ 1595550 w 3134399"/>
                <a:gd name="connsiteY9" fmla="*/ 1356217 h 2543274"/>
                <a:gd name="connsiteX10" fmla="*/ 1595550 w 3134399"/>
                <a:gd name="connsiteY10" fmla="*/ 319110 h 2543274"/>
                <a:gd name="connsiteX11" fmla="*/ 1914660 w 3134399"/>
                <a:gd name="connsiteY11"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4399" h="2543274">
                  <a:moveTo>
                    <a:pt x="1914660" y="0"/>
                  </a:moveTo>
                  <a:lnTo>
                    <a:pt x="2871990" y="0"/>
                  </a:lnTo>
                  <a:cubicBezTo>
                    <a:pt x="2971163" y="0"/>
                    <a:pt x="3059735" y="45184"/>
                    <a:pt x="3118253" y="116098"/>
                  </a:cubicBezTo>
                  <a:lnTo>
                    <a:pt x="3134399" y="142718"/>
                  </a:lnTo>
                  <a:lnTo>
                    <a:pt x="313439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16" name="Freeform 17">
              <a:extLst>
                <a:ext uri="{FF2B5EF4-FFF2-40B4-BE49-F238E27FC236}">
                  <a16:creationId xmlns:a16="http://schemas.microsoft.com/office/drawing/2014/main" id="{133A65BB-5447-C6CE-181A-428F387BF160}"/>
                </a:ext>
              </a:extLst>
            </p:cNvPr>
            <p:cNvSpPr>
              <a:spLocks noGrp="1" noRot="1" noMove="1" noResize="1" noEditPoints="1" noAdjustHandles="1" noChangeArrowheads="1" noChangeShapeType="1"/>
            </p:cNvSpPr>
            <p:nvPr userDrawn="1"/>
          </p:nvSpPr>
          <p:spPr>
            <a:xfrm>
              <a:off x="3538575" y="4314726"/>
              <a:ext cx="4752000" cy="2543274"/>
            </a:xfrm>
            <a:custGeom>
              <a:avLst/>
              <a:gdLst>
                <a:gd name="connsiteX0" fmla="*/ 1914660 w 4786649"/>
                <a:gd name="connsiteY0" fmla="*/ 0 h 2543274"/>
                <a:gd name="connsiteX1" fmla="*/ 2871990 w 4786649"/>
                <a:gd name="connsiteY1" fmla="*/ 0 h 2543274"/>
                <a:gd name="connsiteX2" fmla="*/ 3191100 w 4786649"/>
                <a:gd name="connsiteY2" fmla="*/ 319110 h 2543274"/>
                <a:gd name="connsiteX3" fmla="*/ 3191100 w 4786649"/>
                <a:gd name="connsiteY3" fmla="*/ 1356217 h 2543274"/>
                <a:gd name="connsiteX4" fmla="*/ 3430432 w 4786649"/>
                <a:gd name="connsiteY4" fmla="*/ 1595549 h 2543274"/>
                <a:gd name="connsiteX5" fmla="*/ 4467539 w 4786649"/>
                <a:gd name="connsiteY5" fmla="*/ 1595549 h 2543274"/>
                <a:gd name="connsiteX6" fmla="*/ 4786649 w 4786649"/>
                <a:gd name="connsiteY6" fmla="*/ 1914659 h 2543274"/>
                <a:gd name="connsiteX7" fmla="*/ 4786649 w 4786649"/>
                <a:gd name="connsiteY7" fmla="*/ 2543274 h 2543274"/>
                <a:gd name="connsiteX8" fmla="*/ 0 w 4786649"/>
                <a:gd name="connsiteY8" fmla="*/ 2543274 h 2543274"/>
                <a:gd name="connsiteX9" fmla="*/ 0 w 4786649"/>
                <a:gd name="connsiteY9" fmla="*/ 1914659 h 2543274"/>
                <a:gd name="connsiteX10" fmla="*/ 319110 w 4786649"/>
                <a:gd name="connsiteY10" fmla="*/ 1595549 h 2543274"/>
                <a:gd name="connsiteX11" fmla="*/ 1356217 w 4786649"/>
                <a:gd name="connsiteY11" fmla="*/ 1595549 h 2543274"/>
                <a:gd name="connsiteX12" fmla="*/ 1595550 w 4786649"/>
                <a:gd name="connsiteY12" fmla="*/ 1356217 h 2543274"/>
                <a:gd name="connsiteX13" fmla="*/ 1595550 w 4786649"/>
                <a:gd name="connsiteY13" fmla="*/ 319110 h 2543274"/>
                <a:gd name="connsiteX14" fmla="*/ 1914660 w 4786649"/>
                <a:gd name="connsiteY14" fmla="*/ 0 h 254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6649" h="2543274">
                  <a:moveTo>
                    <a:pt x="1914660" y="0"/>
                  </a:moveTo>
                  <a:lnTo>
                    <a:pt x="2871990" y="0"/>
                  </a:lnTo>
                  <a:cubicBezTo>
                    <a:pt x="3048298" y="0"/>
                    <a:pt x="3191100" y="142802"/>
                    <a:pt x="3191100" y="319110"/>
                  </a:cubicBezTo>
                  <a:lnTo>
                    <a:pt x="3191100" y="1356217"/>
                  </a:lnTo>
                  <a:cubicBezTo>
                    <a:pt x="3191100" y="1488448"/>
                    <a:pt x="3298201" y="1595549"/>
                    <a:pt x="3430432" y="1595549"/>
                  </a:cubicBezTo>
                  <a:lnTo>
                    <a:pt x="4467539" y="1595549"/>
                  </a:lnTo>
                  <a:cubicBezTo>
                    <a:pt x="4643848" y="1595549"/>
                    <a:pt x="4786649" y="1738351"/>
                    <a:pt x="4786649" y="1914659"/>
                  </a:cubicBezTo>
                  <a:lnTo>
                    <a:pt x="4786649" y="2543274"/>
                  </a:lnTo>
                  <a:lnTo>
                    <a:pt x="0" y="2543274"/>
                  </a:lnTo>
                  <a:lnTo>
                    <a:pt x="0" y="1914659"/>
                  </a:lnTo>
                  <a:cubicBezTo>
                    <a:pt x="0" y="1738351"/>
                    <a:pt x="142802" y="1595549"/>
                    <a:pt x="319110" y="1595549"/>
                  </a:cubicBezTo>
                  <a:lnTo>
                    <a:pt x="1356217" y="1595549"/>
                  </a:lnTo>
                  <a:cubicBezTo>
                    <a:pt x="1488448" y="1595549"/>
                    <a:pt x="1595550" y="1488448"/>
                    <a:pt x="1595550" y="1356217"/>
                  </a:cubicBezTo>
                  <a:lnTo>
                    <a:pt x="1595550" y="319110"/>
                  </a:lnTo>
                  <a:cubicBezTo>
                    <a:pt x="1595550" y="142802"/>
                    <a:pt x="1738352" y="0"/>
                    <a:pt x="191466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nvGrpSpPr>
            <p:cNvPr id="18" name="Group 17">
              <a:extLst>
                <a:ext uri="{FF2B5EF4-FFF2-40B4-BE49-F238E27FC236}">
                  <a16:creationId xmlns:a16="http://schemas.microsoft.com/office/drawing/2014/main" id="{07BB0B6B-D0E5-5062-9C47-D616B3FFC808}"/>
                </a:ext>
              </a:extLst>
            </p:cNvPr>
            <p:cNvGrpSpPr>
              <a:grpSpLocks noGrp="1" noUngrp="1" noRot="1" noMove="1" noResize="1"/>
            </p:cNvGrpSpPr>
            <p:nvPr userDrawn="1"/>
          </p:nvGrpSpPr>
          <p:grpSpPr>
            <a:xfrm>
              <a:off x="3731134" y="4555175"/>
              <a:ext cx="4366883" cy="2228438"/>
              <a:chOff x="3644852" y="4555175"/>
              <a:chExt cx="4366883" cy="2228438"/>
            </a:xfrm>
            <a:solidFill>
              <a:schemeClr val="accent1"/>
            </a:solidFill>
          </p:grpSpPr>
          <p:grpSp>
            <p:nvGrpSpPr>
              <p:cNvPr id="19" name="Group 18">
                <a:extLst>
                  <a:ext uri="{FF2B5EF4-FFF2-40B4-BE49-F238E27FC236}">
                    <a16:creationId xmlns:a16="http://schemas.microsoft.com/office/drawing/2014/main" id="{9A90E0AB-EB9B-3115-E097-4E383BCB40BC}"/>
                  </a:ext>
                </a:extLst>
              </p:cNvPr>
              <p:cNvGrpSpPr>
                <a:grpSpLocks noGrp="1" noUngrp="1" noRot="1" noMove="1" noResize="1"/>
              </p:cNvGrpSpPr>
              <p:nvPr userDrawn="1"/>
            </p:nvGrpSpPr>
            <p:grpSpPr>
              <a:xfrm>
                <a:off x="5248227" y="4555175"/>
                <a:ext cx="1160133" cy="621888"/>
                <a:chOff x="5248227" y="4555175"/>
                <a:chExt cx="1160133" cy="621888"/>
              </a:xfrm>
              <a:grpFill/>
            </p:grpSpPr>
            <p:grpSp>
              <p:nvGrpSpPr>
                <p:cNvPr id="48" name="Group 47">
                  <a:extLst>
                    <a:ext uri="{FF2B5EF4-FFF2-40B4-BE49-F238E27FC236}">
                      <a16:creationId xmlns:a16="http://schemas.microsoft.com/office/drawing/2014/main" id="{9F486D96-5559-B572-D39C-38F41A47EDF2}"/>
                    </a:ext>
                  </a:extLst>
                </p:cNvPr>
                <p:cNvGrpSpPr>
                  <a:grpSpLocks noGrp="1" noUngrp="1" noRot="1" noMove="1" noResize="1"/>
                </p:cNvGrpSpPr>
                <p:nvPr userDrawn="1"/>
              </p:nvGrpSpPr>
              <p:grpSpPr>
                <a:xfrm>
                  <a:off x="5248227" y="4555175"/>
                  <a:ext cx="1160133" cy="88488"/>
                  <a:chOff x="5248227" y="4555175"/>
                  <a:chExt cx="1160133" cy="88488"/>
                </a:xfrm>
                <a:grpFill/>
              </p:grpSpPr>
              <p:sp>
                <p:nvSpPr>
                  <p:cNvPr id="53" name="Freeform 95">
                    <a:extLst>
                      <a:ext uri="{FF2B5EF4-FFF2-40B4-BE49-F238E27FC236}">
                        <a16:creationId xmlns:a16="http://schemas.microsoft.com/office/drawing/2014/main" id="{869676FB-983E-5DDF-E987-F46F6A83515F}"/>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95">
                    <a:extLst>
                      <a:ext uri="{FF2B5EF4-FFF2-40B4-BE49-F238E27FC236}">
                        <a16:creationId xmlns:a16="http://schemas.microsoft.com/office/drawing/2014/main" id="{B1E2BD59-3920-F876-B299-D920D5317A1B}"/>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95">
                    <a:extLst>
                      <a:ext uri="{FF2B5EF4-FFF2-40B4-BE49-F238E27FC236}">
                        <a16:creationId xmlns:a16="http://schemas.microsoft.com/office/drawing/2014/main" id="{6B7B2A0A-B96C-827D-D027-DBA6D3812A4F}"/>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48">
                  <a:extLst>
                    <a:ext uri="{FF2B5EF4-FFF2-40B4-BE49-F238E27FC236}">
                      <a16:creationId xmlns:a16="http://schemas.microsoft.com/office/drawing/2014/main" id="{DD1F9028-F2E1-9EEE-FD9B-0EA473C5817A}"/>
                    </a:ext>
                  </a:extLst>
                </p:cNvPr>
                <p:cNvGrpSpPr>
                  <a:grpSpLocks noGrp="1" noUngrp="1" noRot="1" noMove="1" noResize="1"/>
                </p:cNvGrpSpPr>
                <p:nvPr userDrawn="1"/>
              </p:nvGrpSpPr>
              <p:grpSpPr>
                <a:xfrm>
                  <a:off x="5248227" y="5088575"/>
                  <a:ext cx="1160133" cy="88488"/>
                  <a:chOff x="5248227" y="4555175"/>
                  <a:chExt cx="1160133" cy="88488"/>
                </a:xfrm>
                <a:grpFill/>
              </p:grpSpPr>
              <p:sp>
                <p:nvSpPr>
                  <p:cNvPr id="50" name="Freeform 95">
                    <a:extLst>
                      <a:ext uri="{FF2B5EF4-FFF2-40B4-BE49-F238E27FC236}">
                        <a16:creationId xmlns:a16="http://schemas.microsoft.com/office/drawing/2014/main" id="{45DBAEF5-2835-16A3-6C8B-56E74E5F2253}"/>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95">
                    <a:extLst>
                      <a:ext uri="{FF2B5EF4-FFF2-40B4-BE49-F238E27FC236}">
                        <a16:creationId xmlns:a16="http://schemas.microsoft.com/office/drawing/2014/main" id="{8ED9055E-E9AE-E5FC-8E03-29AFD92CD911}"/>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95">
                    <a:extLst>
                      <a:ext uri="{FF2B5EF4-FFF2-40B4-BE49-F238E27FC236}">
                        <a16:creationId xmlns:a16="http://schemas.microsoft.com/office/drawing/2014/main" id="{3C2663FB-4E9A-C02A-3747-A4A677581FA0}"/>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 name="Group 19">
                <a:extLst>
                  <a:ext uri="{FF2B5EF4-FFF2-40B4-BE49-F238E27FC236}">
                    <a16:creationId xmlns:a16="http://schemas.microsoft.com/office/drawing/2014/main" id="{A21E0853-A6A9-3125-BA1B-ACCBC8372103}"/>
                  </a:ext>
                </a:extLst>
              </p:cNvPr>
              <p:cNvGrpSpPr>
                <a:grpSpLocks noGrp="1" noUngrp="1" noRot="1" noMove="1" noResize="1"/>
              </p:cNvGrpSpPr>
              <p:nvPr userDrawn="1"/>
            </p:nvGrpSpPr>
            <p:grpSpPr>
              <a:xfrm>
                <a:off x="5248227" y="5625150"/>
                <a:ext cx="1160133" cy="88488"/>
                <a:chOff x="5248227" y="4555175"/>
                <a:chExt cx="1160133" cy="88488"/>
              </a:xfrm>
              <a:grpFill/>
            </p:grpSpPr>
            <p:sp>
              <p:nvSpPr>
                <p:cNvPr id="45" name="Freeform 95">
                  <a:extLst>
                    <a:ext uri="{FF2B5EF4-FFF2-40B4-BE49-F238E27FC236}">
                      <a16:creationId xmlns:a16="http://schemas.microsoft.com/office/drawing/2014/main" id="{5C237394-3902-367D-D994-0110F5F16B10}"/>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95">
                  <a:extLst>
                    <a:ext uri="{FF2B5EF4-FFF2-40B4-BE49-F238E27FC236}">
                      <a16:creationId xmlns:a16="http://schemas.microsoft.com/office/drawing/2014/main" id="{89924746-ED31-ABD5-C06E-6294B895C122}"/>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95">
                  <a:extLst>
                    <a:ext uri="{FF2B5EF4-FFF2-40B4-BE49-F238E27FC236}">
                      <a16:creationId xmlns:a16="http://schemas.microsoft.com/office/drawing/2014/main" id="{D60CD105-A11E-1B68-A4AF-42CBD5CC230F}"/>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851CCB3E-C201-D03A-E3DD-95D12D2CE46A}"/>
                  </a:ext>
                </a:extLst>
              </p:cNvPr>
              <p:cNvGrpSpPr>
                <a:grpSpLocks noGrp="1" noUngrp="1" noRot="1" noMove="1" noResize="1"/>
              </p:cNvGrpSpPr>
              <p:nvPr userDrawn="1"/>
            </p:nvGrpSpPr>
            <p:grpSpPr>
              <a:xfrm>
                <a:off x="5248227" y="6158550"/>
                <a:ext cx="1160133" cy="88488"/>
                <a:chOff x="5248227" y="4555175"/>
                <a:chExt cx="1160133" cy="88488"/>
              </a:xfrm>
              <a:grpFill/>
            </p:grpSpPr>
            <p:sp>
              <p:nvSpPr>
                <p:cNvPr id="42" name="Freeform 95">
                  <a:extLst>
                    <a:ext uri="{FF2B5EF4-FFF2-40B4-BE49-F238E27FC236}">
                      <a16:creationId xmlns:a16="http://schemas.microsoft.com/office/drawing/2014/main" id="{890E8BC3-556D-C654-753C-284D2ECAD233}"/>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95">
                  <a:extLst>
                    <a:ext uri="{FF2B5EF4-FFF2-40B4-BE49-F238E27FC236}">
                      <a16:creationId xmlns:a16="http://schemas.microsoft.com/office/drawing/2014/main" id="{60E1A3DE-9179-DBAA-A37B-51B1DA9CAB30}"/>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95">
                  <a:extLst>
                    <a:ext uri="{FF2B5EF4-FFF2-40B4-BE49-F238E27FC236}">
                      <a16:creationId xmlns:a16="http://schemas.microsoft.com/office/drawing/2014/main" id="{5CCF165E-00B9-1ADF-E074-A6879F726517}"/>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a:extLst>
                  <a:ext uri="{FF2B5EF4-FFF2-40B4-BE49-F238E27FC236}">
                    <a16:creationId xmlns:a16="http://schemas.microsoft.com/office/drawing/2014/main" id="{AC24A69C-F737-D516-7F69-662DA97CA7DF}"/>
                  </a:ext>
                </a:extLst>
              </p:cNvPr>
              <p:cNvGrpSpPr>
                <a:grpSpLocks noGrp="1" noUngrp="1" noRot="1" noMove="1" noResize="1"/>
              </p:cNvGrpSpPr>
              <p:nvPr userDrawn="1"/>
            </p:nvGrpSpPr>
            <p:grpSpPr>
              <a:xfrm>
                <a:off x="3644852" y="6158550"/>
                <a:ext cx="1160133" cy="88488"/>
                <a:chOff x="5248227" y="4555175"/>
                <a:chExt cx="1160133" cy="88488"/>
              </a:xfrm>
              <a:grpFill/>
            </p:grpSpPr>
            <p:sp>
              <p:nvSpPr>
                <p:cNvPr id="39" name="Freeform 95">
                  <a:extLst>
                    <a:ext uri="{FF2B5EF4-FFF2-40B4-BE49-F238E27FC236}">
                      <a16:creationId xmlns:a16="http://schemas.microsoft.com/office/drawing/2014/main" id="{27FA2C3F-48E7-A2DA-C6FE-6955699BDF91}"/>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95">
                  <a:extLst>
                    <a:ext uri="{FF2B5EF4-FFF2-40B4-BE49-F238E27FC236}">
                      <a16:creationId xmlns:a16="http://schemas.microsoft.com/office/drawing/2014/main" id="{AB957B35-F8C4-3C12-5131-FB57838E2DCC}"/>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95">
                  <a:extLst>
                    <a:ext uri="{FF2B5EF4-FFF2-40B4-BE49-F238E27FC236}">
                      <a16:creationId xmlns:a16="http://schemas.microsoft.com/office/drawing/2014/main" id="{61EBC51D-B78C-6429-08D0-F92C8C73CF00}"/>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C2D106F4-651C-2CD8-2B28-BFF5464F0097}"/>
                  </a:ext>
                </a:extLst>
              </p:cNvPr>
              <p:cNvGrpSpPr>
                <a:grpSpLocks noGrp="1" noUngrp="1" noRot="1" noMove="1" noResize="1"/>
              </p:cNvGrpSpPr>
              <p:nvPr userDrawn="1"/>
            </p:nvGrpSpPr>
            <p:grpSpPr>
              <a:xfrm>
                <a:off x="6851602" y="6158550"/>
                <a:ext cx="1160133" cy="88488"/>
                <a:chOff x="5248227" y="4555175"/>
                <a:chExt cx="1160133" cy="88488"/>
              </a:xfrm>
              <a:grpFill/>
            </p:grpSpPr>
            <p:sp>
              <p:nvSpPr>
                <p:cNvPr id="36" name="Freeform 95">
                  <a:extLst>
                    <a:ext uri="{FF2B5EF4-FFF2-40B4-BE49-F238E27FC236}">
                      <a16:creationId xmlns:a16="http://schemas.microsoft.com/office/drawing/2014/main" id="{042CFC43-9D54-9F09-4C2B-F81A7BC451F4}"/>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95">
                  <a:extLst>
                    <a:ext uri="{FF2B5EF4-FFF2-40B4-BE49-F238E27FC236}">
                      <a16:creationId xmlns:a16="http://schemas.microsoft.com/office/drawing/2014/main" id="{9869033A-A3C0-097D-10BC-E4A818B6A8BE}"/>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5">
                  <a:extLst>
                    <a:ext uri="{FF2B5EF4-FFF2-40B4-BE49-F238E27FC236}">
                      <a16:creationId xmlns:a16="http://schemas.microsoft.com/office/drawing/2014/main" id="{325BBDD8-10E9-E4DF-A3D8-8F997C38BE71}"/>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a:extLst>
                  <a:ext uri="{FF2B5EF4-FFF2-40B4-BE49-F238E27FC236}">
                    <a16:creationId xmlns:a16="http://schemas.microsoft.com/office/drawing/2014/main" id="{8DA73115-3615-C967-5005-42354B38A47A}"/>
                  </a:ext>
                </a:extLst>
              </p:cNvPr>
              <p:cNvGrpSpPr>
                <a:grpSpLocks noGrp="1" noUngrp="1" noRot="1" noMove="1" noResize="1"/>
              </p:cNvGrpSpPr>
              <p:nvPr userDrawn="1"/>
            </p:nvGrpSpPr>
            <p:grpSpPr>
              <a:xfrm>
                <a:off x="5248227" y="6695125"/>
                <a:ext cx="1160133" cy="88488"/>
                <a:chOff x="5248227" y="4555175"/>
                <a:chExt cx="1160133" cy="88488"/>
              </a:xfrm>
              <a:grpFill/>
            </p:grpSpPr>
            <p:sp>
              <p:nvSpPr>
                <p:cNvPr id="33" name="Freeform 95">
                  <a:extLst>
                    <a:ext uri="{FF2B5EF4-FFF2-40B4-BE49-F238E27FC236}">
                      <a16:creationId xmlns:a16="http://schemas.microsoft.com/office/drawing/2014/main" id="{9B58318A-0AD2-1C5C-F364-CF5CFD63D03C}"/>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5">
                  <a:extLst>
                    <a:ext uri="{FF2B5EF4-FFF2-40B4-BE49-F238E27FC236}">
                      <a16:creationId xmlns:a16="http://schemas.microsoft.com/office/drawing/2014/main" id="{455BD373-09DB-51A8-0927-94702ED2F2D3}"/>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5">
                  <a:extLst>
                    <a:ext uri="{FF2B5EF4-FFF2-40B4-BE49-F238E27FC236}">
                      <a16:creationId xmlns:a16="http://schemas.microsoft.com/office/drawing/2014/main" id="{387717BE-02AE-76A3-8A1F-C3D40E1C2C42}"/>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47AFF211-F23F-C430-C382-974A30FC4D16}"/>
                  </a:ext>
                </a:extLst>
              </p:cNvPr>
              <p:cNvGrpSpPr>
                <a:grpSpLocks noGrp="1" noUngrp="1" noRot="1" noMove="1" noResize="1"/>
              </p:cNvGrpSpPr>
              <p:nvPr userDrawn="1"/>
            </p:nvGrpSpPr>
            <p:grpSpPr>
              <a:xfrm>
                <a:off x="3644852" y="6695125"/>
                <a:ext cx="1160133" cy="88488"/>
                <a:chOff x="5248227" y="4555175"/>
                <a:chExt cx="1160133" cy="88488"/>
              </a:xfrm>
              <a:grpFill/>
            </p:grpSpPr>
            <p:sp>
              <p:nvSpPr>
                <p:cNvPr id="30" name="Freeform 95">
                  <a:extLst>
                    <a:ext uri="{FF2B5EF4-FFF2-40B4-BE49-F238E27FC236}">
                      <a16:creationId xmlns:a16="http://schemas.microsoft.com/office/drawing/2014/main" id="{2721D83D-AC4B-37CA-CAE6-3A82BCB45C28}"/>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95">
                  <a:extLst>
                    <a:ext uri="{FF2B5EF4-FFF2-40B4-BE49-F238E27FC236}">
                      <a16:creationId xmlns:a16="http://schemas.microsoft.com/office/drawing/2014/main" id="{91FEABB0-CEB5-E0B4-9F7A-1D072143D53A}"/>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5">
                  <a:extLst>
                    <a:ext uri="{FF2B5EF4-FFF2-40B4-BE49-F238E27FC236}">
                      <a16:creationId xmlns:a16="http://schemas.microsoft.com/office/drawing/2014/main" id="{8C598C8C-FF30-2049-6C5A-AC4331DE7C26}"/>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2C72C521-B223-1D6F-F32E-FA60DCE91039}"/>
                  </a:ext>
                </a:extLst>
              </p:cNvPr>
              <p:cNvGrpSpPr>
                <a:grpSpLocks noGrp="1" noUngrp="1" noRot="1" noMove="1" noResize="1"/>
              </p:cNvGrpSpPr>
              <p:nvPr userDrawn="1"/>
            </p:nvGrpSpPr>
            <p:grpSpPr>
              <a:xfrm>
                <a:off x="6851602" y="6695125"/>
                <a:ext cx="1160133" cy="88488"/>
                <a:chOff x="5248227" y="4555175"/>
                <a:chExt cx="1160133" cy="88488"/>
              </a:xfrm>
              <a:grpFill/>
            </p:grpSpPr>
            <p:sp>
              <p:nvSpPr>
                <p:cNvPr id="27" name="Freeform 95">
                  <a:extLst>
                    <a:ext uri="{FF2B5EF4-FFF2-40B4-BE49-F238E27FC236}">
                      <a16:creationId xmlns:a16="http://schemas.microsoft.com/office/drawing/2014/main" id="{F7E2C53D-F315-86E6-33A8-F642CA4FC053}"/>
                    </a:ext>
                  </a:extLst>
                </p:cNvPr>
                <p:cNvSpPr>
                  <a:spLocks noGrp="1" noRot="1" noMove="1" noResize="1" noEditPoints="1" noAdjustHandles="1" noChangeArrowheads="1" noChangeShapeType="1"/>
                </p:cNvSpPr>
                <p:nvPr userDrawn="1"/>
              </p:nvSpPr>
              <p:spPr bwMode="auto">
                <a:xfrm>
                  <a:off x="5248227"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5">
                  <a:extLst>
                    <a:ext uri="{FF2B5EF4-FFF2-40B4-BE49-F238E27FC236}">
                      <a16:creationId xmlns:a16="http://schemas.microsoft.com/office/drawing/2014/main" id="{65A69D06-72C7-527F-0AA4-79E7FE80076C}"/>
                    </a:ext>
                  </a:extLst>
                </p:cNvPr>
                <p:cNvSpPr>
                  <a:spLocks noGrp="1" noRot="1" noMove="1" noResize="1" noEditPoints="1" noAdjustHandles="1" noChangeArrowheads="1" noChangeShapeType="1"/>
                </p:cNvSpPr>
                <p:nvPr userDrawn="1"/>
              </p:nvSpPr>
              <p:spPr bwMode="auto">
                <a:xfrm>
                  <a:off x="5783215"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5">
                  <a:extLst>
                    <a:ext uri="{FF2B5EF4-FFF2-40B4-BE49-F238E27FC236}">
                      <a16:creationId xmlns:a16="http://schemas.microsoft.com/office/drawing/2014/main" id="{CAE07DC9-89ED-56A6-1389-05F0A735B466}"/>
                    </a:ext>
                  </a:extLst>
                </p:cNvPr>
                <p:cNvSpPr>
                  <a:spLocks noGrp="1" noRot="1" noMove="1" noResize="1" noEditPoints="1" noAdjustHandles="1" noChangeArrowheads="1" noChangeShapeType="1"/>
                </p:cNvSpPr>
                <p:nvPr userDrawn="1"/>
              </p:nvSpPr>
              <p:spPr bwMode="auto">
                <a:xfrm>
                  <a:off x="6318202" y="4555175"/>
                  <a:ext cx="90158" cy="88488"/>
                </a:xfrm>
                <a:custGeom>
                  <a:avLst/>
                  <a:gdLst>
                    <a:gd name="T0" fmla="*/ 31 w 54"/>
                    <a:gd name="T1" fmla="*/ 53 h 53"/>
                    <a:gd name="T2" fmla="*/ 31 w 54"/>
                    <a:gd name="T3" fmla="*/ 31 h 53"/>
                    <a:gd name="T4" fmla="*/ 54 w 54"/>
                    <a:gd name="T5" fmla="*/ 31 h 53"/>
                    <a:gd name="T6" fmla="*/ 54 w 54"/>
                    <a:gd name="T7" fmla="*/ 23 h 53"/>
                    <a:gd name="T8" fmla="*/ 31 w 54"/>
                    <a:gd name="T9" fmla="*/ 23 h 53"/>
                    <a:gd name="T10" fmla="*/ 31 w 54"/>
                    <a:gd name="T11" fmla="*/ 0 h 53"/>
                    <a:gd name="T12" fmla="*/ 23 w 54"/>
                    <a:gd name="T13" fmla="*/ 0 h 53"/>
                    <a:gd name="T14" fmla="*/ 23 w 54"/>
                    <a:gd name="T15" fmla="*/ 23 h 53"/>
                    <a:gd name="T16" fmla="*/ 0 w 54"/>
                    <a:gd name="T17" fmla="*/ 23 h 53"/>
                    <a:gd name="T18" fmla="*/ 0 w 54"/>
                    <a:gd name="T19" fmla="*/ 31 h 53"/>
                    <a:gd name="T20" fmla="*/ 23 w 54"/>
                    <a:gd name="T21" fmla="*/ 31 h 53"/>
                    <a:gd name="T22" fmla="*/ 23 w 54"/>
                    <a:gd name="T23" fmla="*/ 53 h 53"/>
                    <a:gd name="T24" fmla="*/ 31 w 5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3">
                      <a:moveTo>
                        <a:pt x="31" y="53"/>
                      </a:moveTo>
                      <a:lnTo>
                        <a:pt x="31" y="31"/>
                      </a:lnTo>
                      <a:lnTo>
                        <a:pt x="54" y="31"/>
                      </a:lnTo>
                      <a:lnTo>
                        <a:pt x="54" y="23"/>
                      </a:lnTo>
                      <a:lnTo>
                        <a:pt x="31" y="23"/>
                      </a:lnTo>
                      <a:lnTo>
                        <a:pt x="31" y="0"/>
                      </a:lnTo>
                      <a:lnTo>
                        <a:pt x="23" y="0"/>
                      </a:lnTo>
                      <a:lnTo>
                        <a:pt x="23" y="23"/>
                      </a:lnTo>
                      <a:lnTo>
                        <a:pt x="0" y="23"/>
                      </a:lnTo>
                      <a:lnTo>
                        <a:pt x="0" y="31"/>
                      </a:lnTo>
                      <a:lnTo>
                        <a:pt x="23" y="31"/>
                      </a:lnTo>
                      <a:lnTo>
                        <a:pt x="23" y="53"/>
                      </a:ln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7" name="Pictureplaceholder">
            <a:extLst>
              <a:ext uri="{FF2B5EF4-FFF2-40B4-BE49-F238E27FC236}">
                <a16:creationId xmlns:a16="http://schemas.microsoft.com/office/drawing/2014/main" id="{28997839-672C-4742-1DDD-D60E0FEEE058}"/>
              </a:ext>
            </a:extLst>
          </p:cNvPr>
          <p:cNvSpPr>
            <a:spLocks noGrp="1" noChangeAspect="1"/>
          </p:cNvSpPr>
          <p:nvPr userDrawn="1">
            <p:ph type="pic" sz="quarter" idx="17"/>
          </p:nvPr>
        </p:nvSpPr>
        <p:spPr>
          <a:xfrm>
            <a:off x="6307200" y="355510"/>
            <a:ext cx="4737600" cy="4737600"/>
          </a:xfrm>
          <a:custGeom>
            <a:avLst/>
            <a:gdLst>
              <a:gd name="connsiteX0" fmla="*/ 1893604 w 4734000"/>
              <a:gd name="connsiteY0" fmla="*/ 0 h 4734000"/>
              <a:gd name="connsiteX1" fmla="*/ 2841049 w 4734000"/>
              <a:gd name="connsiteY1" fmla="*/ 0 h 4734000"/>
              <a:gd name="connsiteX2" fmla="*/ 3156821 w 4734000"/>
              <a:gd name="connsiteY2" fmla="*/ 315772 h 4734000"/>
              <a:gd name="connsiteX3" fmla="*/ 3156821 w 4734000"/>
              <a:gd name="connsiteY3" fmla="*/ 1342547 h 4734000"/>
              <a:gd name="connsiteX4" fmla="*/ 3393650 w 4734000"/>
              <a:gd name="connsiteY4" fmla="*/ 1579376 h 4734000"/>
              <a:gd name="connsiteX5" fmla="*/ 4420167 w 4734000"/>
              <a:gd name="connsiteY5" fmla="*/ 1579376 h 4734000"/>
              <a:gd name="connsiteX6" fmla="*/ 4729524 w 4734000"/>
              <a:gd name="connsiteY6" fmla="*/ 1831509 h 4734000"/>
              <a:gd name="connsiteX7" fmla="*/ 4734000 w 4734000"/>
              <a:gd name="connsiteY7" fmla="*/ 1875914 h 4734000"/>
              <a:gd name="connsiteX8" fmla="*/ 4734000 w 4734000"/>
              <a:gd name="connsiteY8" fmla="*/ 2861827 h 4734000"/>
              <a:gd name="connsiteX9" fmla="*/ 4729524 w 4734000"/>
              <a:gd name="connsiteY9" fmla="*/ 2906232 h 4734000"/>
              <a:gd name="connsiteX10" fmla="*/ 4420167 w 4734000"/>
              <a:gd name="connsiteY10" fmla="*/ 3158365 h 4734000"/>
              <a:gd name="connsiteX11" fmla="*/ 3393650 w 4734000"/>
              <a:gd name="connsiteY11" fmla="*/ 3158365 h 4734000"/>
              <a:gd name="connsiteX12" fmla="*/ 3156821 w 4734000"/>
              <a:gd name="connsiteY12" fmla="*/ 3395194 h 4734000"/>
              <a:gd name="connsiteX13" fmla="*/ 3156821 w 4734000"/>
              <a:gd name="connsiteY13" fmla="*/ 4421711 h 4734000"/>
              <a:gd name="connsiteX14" fmla="*/ 2904688 w 4734000"/>
              <a:gd name="connsiteY14" fmla="*/ 4731068 h 4734000"/>
              <a:gd name="connsiteX15" fmla="*/ 2875601 w 4734000"/>
              <a:gd name="connsiteY15" fmla="*/ 4734000 h 4734000"/>
              <a:gd name="connsiteX16" fmla="*/ 1861483 w 4734000"/>
              <a:gd name="connsiteY16" fmla="*/ 4734000 h 4734000"/>
              <a:gd name="connsiteX17" fmla="*/ 1829836 w 4734000"/>
              <a:gd name="connsiteY17" fmla="*/ 4730810 h 4734000"/>
              <a:gd name="connsiteX18" fmla="*/ 1577703 w 4734000"/>
              <a:gd name="connsiteY18" fmla="*/ 4421453 h 4734000"/>
              <a:gd name="connsiteX19" fmla="*/ 1577703 w 4734000"/>
              <a:gd name="connsiteY19" fmla="*/ 3394936 h 4734000"/>
              <a:gd name="connsiteX20" fmla="*/ 1340874 w 4734000"/>
              <a:gd name="connsiteY20" fmla="*/ 3158107 h 4734000"/>
              <a:gd name="connsiteX21" fmla="*/ 314357 w 4734000"/>
              <a:gd name="connsiteY21" fmla="*/ 3158107 h 4734000"/>
              <a:gd name="connsiteX22" fmla="*/ 5001 w 4734000"/>
              <a:gd name="connsiteY22" fmla="*/ 2905974 h 4734000"/>
              <a:gd name="connsiteX23" fmla="*/ 0 w 4734000"/>
              <a:gd name="connsiteY23" fmla="*/ 2856372 h 4734000"/>
              <a:gd name="connsiteX24" fmla="*/ 0 w 4734000"/>
              <a:gd name="connsiteY24" fmla="*/ 1880853 h 4734000"/>
              <a:gd name="connsiteX25" fmla="*/ 5001 w 4734000"/>
              <a:gd name="connsiteY25" fmla="*/ 1831251 h 4734000"/>
              <a:gd name="connsiteX26" fmla="*/ 314357 w 4734000"/>
              <a:gd name="connsiteY26" fmla="*/ 1579118 h 4734000"/>
              <a:gd name="connsiteX27" fmla="*/ 1341003 w 4734000"/>
              <a:gd name="connsiteY27" fmla="*/ 1579118 h 4734000"/>
              <a:gd name="connsiteX28" fmla="*/ 1577832 w 4734000"/>
              <a:gd name="connsiteY28" fmla="*/ 1342289 h 4734000"/>
              <a:gd name="connsiteX29" fmla="*/ 1577832 w 4734000"/>
              <a:gd name="connsiteY29" fmla="*/ 315772 h 4734000"/>
              <a:gd name="connsiteX30" fmla="*/ 1893604 w 4734000"/>
              <a:gd name="connsiteY30" fmla="*/ 0 h 473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734000" h="4734000">
                <a:moveTo>
                  <a:pt x="1893604" y="0"/>
                </a:moveTo>
                <a:lnTo>
                  <a:pt x="2841049" y="0"/>
                </a:lnTo>
                <a:cubicBezTo>
                  <a:pt x="3015446" y="0"/>
                  <a:pt x="3156821" y="141375"/>
                  <a:pt x="3156821" y="315772"/>
                </a:cubicBezTo>
                <a:lnTo>
                  <a:pt x="3156821" y="1342547"/>
                </a:lnTo>
                <a:cubicBezTo>
                  <a:pt x="3156821" y="1473345"/>
                  <a:pt x="3262852" y="1579376"/>
                  <a:pt x="3393650" y="1579376"/>
                </a:cubicBezTo>
                <a:lnTo>
                  <a:pt x="4420167" y="1579376"/>
                </a:lnTo>
                <a:cubicBezTo>
                  <a:pt x="4572764" y="1579376"/>
                  <a:pt x="4700079" y="1687616"/>
                  <a:pt x="4729524" y="1831509"/>
                </a:cubicBezTo>
                <a:lnTo>
                  <a:pt x="4734000" y="1875914"/>
                </a:lnTo>
                <a:lnTo>
                  <a:pt x="4734000" y="2861827"/>
                </a:lnTo>
                <a:lnTo>
                  <a:pt x="4729524" y="2906232"/>
                </a:lnTo>
                <a:cubicBezTo>
                  <a:pt x="4700079" y="3050125"/>
                  <a:pt x="4572764" y="3158365"/>
                  <a:pt x="4420167" y="3158365"/>
                </a:cubicBezTo>
                <a:lnTo>
                  <a:pt x="3393650" y="3158365"/>
                </a:lnTo>
                <a:cubicBezTo>
                  <a:pt x="3262852" y="3158365"/>
                  <a:pt x="3156821" y="3264396"/>
                  <a:pt x="3156821" y="3395194"/>
                </a:cubicBezTo>
                <a:lnTo>
                  <a:pt x="3156821" y="4421711"/>
                </a:lnTo>
                <a:cubicBezTo>
                  <a:pt x="3156821" y="4574309"/>
                  <a:pt x="3048581" y="4701624"/>
                  <a:pt x="2904688" y="4731068"/>
                </a:cubicBezTo>
                <a:lnTo>
                  <a:pt x="2875601" y="4734000"/>
                </a:lnTo>
                <a:lnTo>
                  <a:pt x="1861483" y="4734000"/>
                </a:lnTo>
                <a:lnTo>
                  <a:pt x="1829836" y="4730810"/>
                </a:lnTo>
                <a:cubicBezTo>
                  <a:pt x="1685944" y="4701366"/>
                  <a:pt x="1577703" y="4574051"/>
                  <a:pt x="1577703" y="4421453"/>
                </a:cubicBezTo>
                <a:lnTo>
                  <a:pt x="1577703" y="3394936"/>
                </a:lnTo>
                <a:cubicBezTo>
                  <a:pt x="1577703" y="3264138"/>
                  <a:pt x="1471672" y="3158107"/>
                  <a:pt x="1340874" y="3158107"/>
                </a:cubicBezTo>
                <a:lnTo>
                  <a:pt x="314357" y="3158107"/>
                </a:lnTo>
                <a:cubicBezTo>
                  <a:pt x="161760" y="3158107"/>
                  <a:pt x="34445" y="3049867"/>
                  <a:pt x="5001" y="2905974"/>
                </a:cubicBezTo>
                <a:lnTo>
                  <a:pt x="0" y="2856372"/>
                </a:lnTo>
                <a:lnTo>
                  <a:pt x="0" y="1880853"/>
                </a:lnTo>
                <a:lnTo>
                  <a:pt x="5001" y="1831251"/>
                </a:lnTo>
                <a:cubicBezTo>
                  <a:pt x="34445" y="1687358"/>
                  <a:pt x="161760" y="1579118"/>
                  <a:pt x="314357" y="1579118"/>
                </a:cubicBezTo>
                <a:lnTo>
                  <a:pt x="1341003" y="1579118"/>
                </a:lnTo>
                <a:cubicBezTo>
                  <a:pt x="1471801" y="1579118"/>
                  <a:pt x="1577832" y="1473087"/>
                  <a:pt x="1577832" y="1342289"/>
                </a:cubicBezTo>
                <a:lnTo>
                  <a:pt x="1577832" y="315772"/>
                </a:lnTo>
                <a:cubicBezTo>
                  <a:pt x="1577832" y="141375"/>
                  <a:pt x="1719207" y="0"/>
                  <a:pt x="1893604" y="0"/>
                </a:cubicBezTo>
                <a:close/>
              </a:path>
            </a:pathLst>
          </a:custGeom>
          <a:solidFill>
            <a:srgbClr val="BFBFBF"/>
          </a:solidFill>
        </p:spPr>
        <p:txBody>
          <a:bodyPr wrap="square" tIns="576000" anchor="ctr" anchorCtr="0">
            <a:noAutofit/>
          </a:bodyPr>
          <a:lstStyle>
            <a:lvl1pPr marL="0" indent="0" algn="ctr">
              <a:buNone/>
              <a:defRPr sz="1600">
                <a:solidFill>
                  <a:schemeClr val="bg1"/>
                </a:solidFill>
              </a:defRPr>
            </a:lvl1pPr>
          </a:lstStyle>
          <a:p>
            <a:r>
              <a:rPr lang="en-US"/>
              <a:t>Click icon to add picture</a:t>
            </a:r>
          </a:p>
        </p:txBody>
      </p:sp>
      <p:sp>
        <p:nvSpPr>
          <p:cNvPr id="12" name="Text Placeholder 2">
            <a:extLst>
              <a:ext uri="{FF2B5EF4-FFF2-40B4-BE49-F238E27FC236}">
                <a16:creationId xmlns:a16="http://schemas.microsoft.com/office/drawing/2014/main" id="{2F83CEE2-D054-32A0-6C60-6A2F9D650ADE}"/>
              </a:ext>
            </a:extLst>
          </p:cNvPr>
          <p:cNvSpPr>
            <a:spLocks noGrp="1"/>
          </p:cNvSpPr>
          <p:nvPr userDrawn="1">
            <p:ph type="body" sz="quarter" idx="13" hasCustomPrompt="1"/>
          </p:nvPr>
        </p:nvSpPr>
        <p:spPr>
          <a:xfrm>
            <a:off x="358776" y="1327356"/>
            <a:ext cx="4676774" cy="3960000"/>
          </a:xfrm>
        </p:spPr>
        <p:txBody>
          <a:bodyPr tIns="0" anchor="t" anchorCtr="0"/>
          <a:lstStyle>
            <a:lvl1pPr marL="0" indent="0">
              <a:lnSpc>
                <a:spcPct val="100000"/>
              </a:lnSpc>
              <a:spcBef>
                <a:spcPts val="0"/>
              </a:spcBef>
              <a:spcAft>
                <a:spcPts val="4500"/>
              </a:spcAft>
              <a:buFont typeface="Arial" panose="020B0604020202020204" pitchFamily="34" charset="0"/>
              <a:buChar char="​"/>
              <a:defRPr sz="4000" i="0">
                <a:solidFill>
                  <a:schemeClr val="tx2"/>
                </a:solidFill>
                <a:latin typeface="+mj-lt"/>
              </a:defRPr>
            </a:lvl1pPr>
            <a:lvl2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2pPr>
            <a:lvl3pPr marL="0" indent="0">
              <a:lnSpc>
                <a:spcPct val="100000"/>
              </a:lnSpc>
              <a:spcBef>
                <a:spcPts val="0"/>
              </a:spcBef>
              <a:spcAft>
                <a:spcPts val="600"/>
              </a:spcAft>
              <a:buFont typeface="Arial" panose="020B0604020202020204" pitchFamily="34" charset="0"/>
              <a:buNone/>
              <a:defRPr sz="1400" b="0" cap="all" spc="0" baseline="0">
                <a:solidFill>
                  <a:schemeClr val="tx2"/>
                </a:solidFill>
                <a:latin typeface="Consolas" panose="020B0609020204030204" pitchFamily="49" charset="0"/>
              </a:defRPr>
            </a:lvl3pPr>
            <a:lvl4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4pPr>
            <a:lvl5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5pPr>
            <a:lvl6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6pPr>
            <a:lvl7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7pPr>
            <a:lvl8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8pPr>
            <a:lvl9pPr marL="0" indent="0">
              <a:lnSpc>
                <a:spcPct val="100000"/>
              </a:lnSpc>
              <a:spcBef>
                <a:spcPts val="0"/>
              </a:spcBef>
              <a:spcAft>
                <a:spcPts val="600"/>
              </a:spcAft>
              <a:buFont typeface="Arial" panose="020B0604020202020204" pitchFamily="34" charset="0"/>
              <a:buChar char="​"/>
              <a:defRPr sz="1400" b="0" cap="all" spc="0" baseline="0">
                <a:solidFill>
                  <a:schemeClr val="tx2"/>
                </a:solidFill>
                <a:latin typeface="Consolas" panose="020B0609020204030204" pitchFamily="49" charset="0"/>
              </a:defRPr>
            </a:lvl9pPr>
          </a:lstStyle>
          <a:p>
            <a:pPr marL="0" marR="0" lvl="0" indent="0" algn="l" defTabSz="914400" rtl="0" eaLnBrk="1" fontAlgn="auto" latinLnBrk="0" hangingPunct="1">
              <a:lnSpc>
                <a:spcPct val="100000"/>
              </a:lnSpc>
              <a:spcBef>
                <a:spcPts val="0"/>
              </a:spcBef>
              <a:spcAft>
                <a:spcPts val="4500"/>
              </a:spcAft>
              <a:buClrTx/>
              <a:buSzPct val="90000"/>
              <a:buFont typeface="Arial" panose="020B0604020202020204" pitchFamily="34" charset="0"/>
              <a:buChar char="​"/>
              <a:tabLst/>
              <a:defRPr/>
            </a:pPr>
            <a:r>
              <a:rPr lang="en-US"/>
              <a:t>Click to add a key thought, stat or quote text                   </a:t>
            </a:r>
            <a:r>
              <a:rPr lang="en-US" noProof="0"/>
              <a:t>Enter &amp; TAB to view next text style</a:t>
            </a:r>
            <a:endParaRPr lang="en-US"/>
          </a:p>
          <a:p>
            <a:pPr lvl="1"/>
            <a:r>
              <a:rPr lang="en-US" noProof="0"/>
              <a:t>Add name here</a:t>
            </a:r>
            <a:endParaRPr lang="en-US"/>
          </a:p>
        </p:txBody>
      </p:sp>
      <p:sp>
        <p:nvSpPr>
          <p:cNvPr id="4" name="Legal dynamic" descr="{&quot;templafy&quot;:{&quot;id&quot;:&quot;1c4251ed-09f5-42be-a715-e62099bc677b&quot;}}" title="Form.Cigna_Confidentiality.EvernorthConfidentiality">
            <a:extLst>
              <a:ext uri="{FF2B5EF4-FFF2-40B4-BE49-F238E27FC236}">
                <a16:creationId xmlns:a16="http://schemas.microsoft.com/office/drawing/2014/main" id="{7551AE01-EE7C-0BFC-DDDB-F7BD048FCB81}"/>
              </a:ext>
            </a:extLst>
          </p:cNvPr>
          <p:cNvSpPr/>
          <p:nvPr userDrawn="1"/>
        </p:nvSpPr>
        <p:spPr>
          <a:xfrm>
            <a:off x="5923280" y="6217200"/>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02F3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5" name="Internal Stamp dynamic" descr="{&quot;templafy&quot;:{&quot;id&quot;:&quot;3dfa3802-8564-4ef1-99f7-bd90a470bd1d&quot;}}" title="Form.Cigna_Confidentiality.Cigna_confidentiality">
            <a:extLst>
              <a:ext uri="{FF2B5EF4-FFF2-40B4-BE49-F238E27FC236}">
                <a16:creationId xmlns:a16="http://schemas.microsoft.com/office/drawing/2014/main" id="{81FC5392-C6AA-30C1-C596-4C3C7B220DC1}"/>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02F3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959ad2a7-f586-4ced-8a3f-2a19d8434dae&quot;}}">
            <a:extLst>
              <a:ext uri="{FF2B5EF4-FFF2-40B4-BE49-F238E27FC236}">
                <a16:creationId xmlns:a16="http://schemas.microsoft.com/office/drawing/2014/main" id="{1D079B1C-42C0-ABDD-5D22-50F676F48734}"/>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5" name="Slide Number Placeholder 14">
            <a:extLst>
              <a:ext uri="{FF2B5EF4-FFF2-40B4-BE49-F238E27FC236}">
                <a16:creationId xmlns:a16="http://schemas.microsoft.com/office/drawing/2014/main" id="{ECD36F20-0F91-EAA5-7FCE-30C9BEA03A96}"/>
              </a:ext>
            </a:extLst>
          </p:cNvPr>
          <p:cNvSpPr>
            <a:spLocks noGrp="1"/>
          </p:cNvSpPr>
          <p:nvPr userDrawn="1">
            <p:ph type="sldNum" sz="quarter" idx="15"/>
          </p:nvPr>
        </p:nvSpPr>
        <p:spPr/>
        <p:txBody>
          <a:bodyPr/>
          <a:lstStyle>
            <a:lvl1pPr>
              <a:defRPr>
                <a:solidFill>
                  <a:srgbClr val="002F32"/>
                </a:solidFill>
              </a:defRPr>
            </a:lvl1pPr>
          </a:lstStyle>
          <a:p>
            <a:fld id="{23AA811B-2EBD-4900-905E-5BE206449611}" type="slidenum">
              <a:rPr lang="en-US" smtClean="0"/>
              <a:pPr/>
              <a:t>‹#›</a:t>
            </a:fld>
            <a:endParaRPr lang="en-US"/>
          </a:p>
        </p:txBody>
      </p:sp>
      <p:sp>
        <p:nvSpPr>
          <p:cNvPr id="6" name="Date Placeholder 5">
            <a:extLst>
              <a:ext uri="{FF2B5EF4-FFF2-40B4-BE49-F238E27FC236}">
                <a16:creationId xmlns:a16="http://schemas.microsoft.com/office/drawing/2014/main" id="{1D5BCD56-10F9-937F-0C84-B41149CE33A5}"/>
              </a:ext>
            </a:extLst>
          </p:cNvPr>
          <p:cNvSpPr>
            <a:spLocks noGrp="1"/>
          </p:cNvSpPr>
          <p:nvPr>
            <p:ph type="dt" sz="half" idx="16"/>
          </p:nvPr>
        </p:nvSpPr>
        <p:spPr>
          <a:xfrm>
            <a:off x="10630800" y="6364800"/>
            <a:ext cx="691200" cy="180000"/>
          </a:xfrm>
        </p:spPr>
        <p:txBody>
          <a:bodyPr/>
          <a:lstStyle>
            <a:lvl1pPr>
              <a:defRPr>
                <a:solidFill>
                  <a:srgbClr val="002F3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3173475630"/>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 Cover and Image">
    <p:bg bwMode="ltGray">
      <p:bgPr>
        <a:solidFill>
          <a:schemeClr val="tx1"/>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58824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sp>
        <p:nvSpPr>
          <p:cNvPr id="3" name="Picture Placeholder 6">
            <a:extLst>
              <a:ext uri="{FF2B5EF4-FFF2-40B4-BE49-F238E27FC236}">
                <a16:creationId xmlns:a16="http://schemas.microsoft.com/office/drawing/2014/main" id="{489AB87C-BEED-4339-A4A0-528135700DDA}"/>
              </a:ext>
            </a:extLst>
          </p:cNvPr>
          <p:cNvSpPr>
            <a:spLocks noGrp="1"/>
          </p:cNvSpPr>
          <p:nvPr>
            <p:ph type="pic" sz="quarter" idx="16"/>
          </p:nvPr>
        </p:nvSpPr>
        <p:spPr>
          <a:xfrm>
            <a:off x="5690403" y="2"/>
            <a:ext cx="6501219" cy="5882398"/>
          </a:xfrm>
          <a:custGeom>
            <a:avLst/>
            <a:gdLst>
              <a:gd name="connsiteX0" fmla="*/ 4452578 w 6501219"/>
              <a:gd name="connsiteY0" fmla="*/ 0 h 5882398"/>
              <a:gd name="connsiteX1" fmla="*/ 6501219 w 6501219"/>
              <a:gd name="connsiteY1" fmla="*/ 0 h 5882398"/>
              <a:gd name="connsiteX2" fmla="*/ 6501219 w 6501219"/>
              <a:gd name="connsiteY2" fmla="*/ 5882398 h 5882398"/>
              <a:gd name="connsiteX3" fmla="*/ 0 w 6501219"/>
              <a:gd name="connsiteY3" fmla="*/ 5882398 h 5882398"/>
              <a:gd name="connsiteX4" fmla="*/ 0 w 6501219"/>
              <a:gd name="connsiteY4" fmla="*/ 4449965 h 5882398"/>
              <a:gd name="connsiteX5" fmla="*/ 3693 w 6501219"/>
              <a:gd name="connsiteY5" fmla="*/ 4376844 h 5882398"/>
              <a:gd name="connsiteX6" fmla="*/ 742025 w 6501219"/>
              <a:gd name="connsiteY6" fmla="*/ 3710572 h 5882398"/>
              <a:gd name="connsiteX7" fmla="*/ 3153904 w 6501219"/>
              <a:gd name="connsiteY7" fmla="*/ 3710572 h 5882398"/>
              <a:gd name="connsiteX8" fmla="*/ 3710432 w 6501219"/>
              <a:gd name="connsiteY8" fmla="*/ 3154043 h 5882398"/>
              <a:gd name="connsiteX9" fmla="*/ 3710432 w 6501219"/>
              <a:gd name="connsiteY9" fmla="*/ 742164 h 5882398"/>
              <a:gd name="connsiteX10" fmla="*/ 4376726 w 6501219"/>
              <a:gd name="connsiteY10" fmla="*/ 3830 h 588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01219" h="5882398">
                <a:moveTo>
                  <a:pt x="4452578" y="0"/>
                </a:moveTo>
                <a:lnTo>
                  <a:pt x="6501219" y="0"/>
                </a:lnTo>
                <a:lnTo>
                  <a:pt x="6501219" y="5882398"/>
                </a:lnTo>
                <a:lnTo>
                  <a:pt x="0" y="5882398"/>
                </a:lnTo>
                <a:lnTo>
                  <a:pt x="0" y="4449965"/>
                </a:lnTo>
                <a:lnTo>
                  <a:pt x="3693" y="4376844"/>
                </a:lnTo>
                <a:cubicBezTo>
                  <a:pt x="41705" y="4002555"/>
                  <a:pt x="357813" y="3710572"/>
                  <a:pt x="742025" y="3710572"/>
                </a:cubicBezTo>
                <a:lnTo>
                  <a:pt x="3153904" y="3710572"/>
                </a:lnTo>
                <a:cubicBezTo>
                  <a:pt x="3461178" y="3710572"/>
                  <a:pt x="3710432" y="3461444"/>
                  <a:pt x="3710432" y="3154043"/>
                </a:cubicBezTo>
                <a:lnTo>
                  <a:pt x="3710432" y="742164"/>
                </a:lnTo>
                <a:cubicBezTo>
                  <a:pt x="3710432" y="357833"/>
                  <a:pt x="4002528" y="41829"/>
                  <a:pt x="4376726" y="3830"/>
                </a:cubicBezTo>
                <a:close/>
              </a:path>
            </a:pathLst>
          </a:custGeom>
          <a:solidFill>
            <a:schemeClr val="tx1">
              <a:lumMod val="85000"/>
            </a:schemeClr>
          </a:solidFill>
        </p:spPr>
        <p:txBody>
          <a:bodyPr wrap="square" lIns="3060000" anchor="ctr" anchorCtr="0">
            <a:noAutofit/>
          </a:bodyPr>
          <a:lstStyle>
            <a:lvl1pPr marL="0" indent="0" algn="ctr">
              <a:buNone/>
              <a:defRPr>
                <a:solidFill>
                  <a:schemeClr val="bg1"/>
                </a:solidFill>
              </a:defRPr>
            </a:lvl1pPr>
          </a:lstStyle>
          <a:p>
            <a:r>
              <a:rPr lang="en-US"/>
              <a:t>Click icon to add picture</a:t>
            </a:r>
          </a:p>
        </p:txBody>
      </p:sp>
      <p:sp>
        <p:nvSpPr>
          <p:cNvPr id="2" name="Title 1"/>
          <p:cNvSpPr>
            <a:spLocks noGrp="1"/>
          </p:cNvSpPr>
          <p:nvPr>
            <p:ph type="ctrTitle" hasCustomPrompt="1"/>
          </p:nvPr>
        </p:nvSpPr>
        <p:spPr>
          <a:xfrm>
            <a:off x="360000" y="1454400"/>
            <a:ext cx="4854938" cy="1820862"/>
          </a:xfrm>
          <a:noFill/>
        </p:spPr>
        <p:txBody>
          <a:bodyPr anchor="b" anchorCtr="0"/>
          <a:lstStyle>
            <a:lvl1pPr algn="l">
              <a:lnSpc>
                <a:spcPct val="85000"/>
              </a:lnSpc>
              <a:defRPr sz="6000" b="0">
                <a:solidFill>
                  <a:srgbClr val="3EFFC0"/>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a:xfrm>
            <a:off x="360000" y="3654000"/>
            <a:ext cx="4854938" cy="1728000"/>
          </a:xfrm>
        </p:spPr>
        <p:txBody>
          <a:bodyPr/>
          <a:lstStyle>
            <a:lvl1pPr marL="0" indent="0">
              <a:lnSpc>
                <a:spcPct val="105000"/>
              </a:lnSpc>
              <a:buNone/>
              <a:defRPr sz="2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sp>
        <p:nvSpPr>
          <p:cNvPr id="10" name="Slide Number Placeholder 9">
            <a:extLst>
              <a:ext uri="{FF2B5EF4-FFF2-40B4-BE49-F238E27FC236}">
                <a16:creationId xmlns:a16="http://schemas.microsoft.com/office/drawing/2014/main" id="{EED5F798-DCF5-874A-2482-A03C773B784F}"/>
              </a:ext>
            </a:extLst>
          </p:cNvPr>
          <p:cNvSpPr>
            <a:spLocks noGrp="1"/>
          </p:cNvSpPr>
          <p:nvPr>
            <p:ph type="sldNum" sz="quarter" idx="15"/>
          </p:nvPr>
        </p:nvSpPr>
        <p:spPr/>
        <p:txBody>
          <a:bodyPr/>
          <a:lstStyle/>
          <a:p>
            <a:fld id="{23AA811B-2EBD-4900-905E-5BE206449611}" type="slidenum">
              <a:rPr lang="en-US" smtClean="0"/>
              <a:pPr/>
              <a:t>‹#›</a:t>
            </a:fld>
            <a:endParaRPr lang="en-US"/>
          </a:p>
        </p:txBody>
      </p:sp>
      <p:sp>
        <p:nvSpPr>
          <p:cNvPr id="4" name="Date Placeholder 3">
            <a:extLst>
              <a:ext uri="{FF2B5EF4-FFF2-40B4-BE49-F238E27FC236}">
                <a16:creationId xmlns:a16="http://schemas.microsoft.com/office/drawing/2014/main" id="{844D132E-A4C0-B0ED-AFC4-1D3CD4BA89FE}"/>
              </a:ext>
            </a:extLst>
          </p:cNvPr>
          <p:cNvSpPr>
            <a:spLocks noGrp="1"/>
          </p:cNvSpPr>
          <p:nvPr>
            <p:ph type="dt" sz="half" idx="17"/>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6850476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302">
          <p15:clr>
            <a:srgbClr val="F26B43"/>
          </p15:clr>
        </p15:guide>
        <p15:guide id="2" orient="horz" pos="2065">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 End">
    <p:bg bwMode="ltGray">
      <p:bgPr>
        <a:solidFill>
          <a:schemeClr val="accent3"/>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grpSp>
        <p:nvGrpSpPr>
          <p:cNvPr id="19" name="Group graphic">
            <a:extLst>
              <a:ext uri="{FF2B5EF4-FFF2-40B4-BE49-F238E27FC236}">
                <a16:creationId xmlns:a16="http://schemas.microsoft.com/office/drawing/2014/main" id="{BB97AB84-7DC2-652F-33E4-407A8909D9CC}"/>
              </a:ext>
            </a:extLst>
          </p:cNvPr>
          <p:cNvGrpSpPr>
            <a:grpSpLocks noGrp="1" noUngrp="1" noRot="1" noMove="1" noResize="1"/>
          </p:cNvGrpSpPr>
          <p:nvPr userDrawn="1"/>
        </p:nvGrpSpPr>
        <p:grpSpPr bwMode="invGray">
          <a:xfrm>
            <a:off x="6339596" y="0"/>
            <a:ext cx="5852404" cy="6858000"/>
            <a:chOff x="6396158" y="75416"/>
            <a:chExt cx="5852404" cy="6858000"/>
          </a:xfrm>
        </p:grpSpPr>
        <p:sp>
          <p:nvSpPr>
            <p:cNvPr id="20" name="Freeform 76">
              <a:extLst>
                <a:ext uri="{FF2B5EF4-FFF2-40B4-BE49-F238E27FC236}">
                  <a16:creationId xmlns:a16="http://schemas.microsoft.com/office/drawing/2014/main" id="{09C6E577-4AF1-899B-A6D7-0B64E4CA94F0}"/>
                </a:ext>
              </a:extLst>
            </p:cNvPr>
            <p:cNvSpPr>
              <a:spLocks noGrp="1" noRot="1" noMove="1" noResize="1" noEditPoints="1" noAdjustHandles="1" noChangeArrowheads="1" noChangeShapeType="1"/>
            </p:cNvSpPr>
            <p:nvPr/>
          </p:nvSpPr>
          <p:spPr bwMode="invGray">
            <a:xfrm>
              <a:off x="10499364" y="5446278"/>
              <a:ext cx="1749198" cy="1487138"/>
            </a:xfrm>
            <a:custGeom>
              <a:avLst/>
              <a:gdLst>
                <a:gd name="connsiteX0" fmla="*/ 0 w 1698987"/>
                <a:gd name="connsiteY0" fmla="*/ 0 h 1418073"/>
                <a:gd name="connsiteX1" fmla="*/ 1698987 w 1698987"/>
                <a:gd name="connsiteY1" fmla="*/ 0 h 1418073"/>
                <a:gd name="connsiteX2" fmla="*/ 1698987 w 1698987"/>
                <a:gd name="connsiteY2" fmla="*/ 12817 h 1418073"/>
                <a:gd name="connsiteX3" fmla="*/ 12823 w 1698987"/>
                <a:gd name="connsiteY3" fmla="*/ 12817 h 1418073"/>
                <a:gd name="connsiteX4" fmla="*/ 12823 w 1698987"/>
                <a:gd name="connsiteY4" fmla="*/ 1418073 h 1418073"/>
                <a:gd name="connsiteX5" fmla="*/ 0 w 1698987"/>
                <a:gd name="connsiteY5" fmla="*/ 1418073 h 141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8987" h="1418073">
                  <a:moveTo>
                    <a:pt x="0" y="0"/>
                  </a:moveTo>
                  <a:lnTo>
                    <a:pt x="1698987" y="0"/>
                  </a:lnTo>
                  <a:lnTo>
                    <a:pt x="1698987" y="12817"/>
                  </a:lnTo>
                  <a:lnTo>
                    <a:pt x="12823" y="12817"/>
                  </a:lnTo>
                  <a:lnTo>
                    <a:pt x="12823" y="1418073"/>
                  </a:lnTo>
                  <a:lnTo>
                    <a:pt x="0" y="1418073"/>
                  </a:lnTo>
                  <a:close/>
                </a:path>
              </a:pathLst>
            </a:custGeom>
            <a:solidFill>
              <a:schemeClr val="accent1"/>
            </a:solidFill>
            <a:ln w="0" cap="flat">
              <a:noFill/>
              <a:prstDash val="solid"/>
              <a:miter/>
            </a:ln>
          </p:spPr>
          <p:txBody>
            <a:bodyPr rtlCol="0" anchor="ctr"/>
            <a:lstStyle/>
            <a:p>
              <a:endParaRPr lang="en-US"/>
            </a:p>
          </p:txBody>
        </p:sp>
        <p:sp>
          <p:nvSpPr>
            <p:cNvPr id="21" name="Freeform 21">
              <a:extLst>
                <a:ext uri="{FF2B5EF4-FFF2-40B4-BE49-F238E27FC236}">
                  <a16:creationId xmlns:a16="http://schemas.microsoft.com/office/drawing/2014/main" id="{110783A6-9DBF-D6D2-C5BD-DAE7DFE1E4E7}"/>
                </a:ext>
              </a:extLst>
            </p:cNvPr>
            <p:cNvSpPr>
              <a:spLocks noGrp="1" noRot="1" noMove="1" noResize="1" noEditPoints="1" noAdjustHandles="1" noChangeArrowheads="1" noChangeShapeType="1"/>
            </p:cNvSpPr>
            <p:nvPr/>
          </p:nvSpPr>
          <p:spPr bwMode="invGray">
            <a:xfrm>
              <a:off x="8447761" y="3395591"/>
              <a:ext cx="2064425" cy="2063502"/>
            </a:xfrm>
            <a:custGeom>
              <a:avLst/>
              <a:gdLst>
                <a:gd name="connsiteX0" fmla="*/ 2064426 w 2064425"/>
                <a:gd name="connsiteY0" fmla="*/ 2063503 h 2063502"/>
                <a:gd name="connsiteX1" fmla="*/ 314152 w 2064425"/>
                <a:gd name="connsiteY1" fmla="*/ 2063503 h 2063502"/>
                <a:gd name="connsiteX2" fmla="*/ 0 w 2064425"/>
                <a:gd name="connsiteY2" fmla="*/ 1749491 h 2063502"/>
                <a:gd name="connsiteX3" fmla="*/ 0 w 2064425"/>
                <a:gd name="connsiteY3" fmla="*/ 314011 h 2063502"/>
                <a:gd name="connsiteX4" fmla="*/ 314152 w 2064425"/>
                <a:gd name="connsiteY4" fmla="*/ 0 h 2063502"/>
                <a:gd name="connsiteX5" fmla="*/ 1647438 w 2064425"/>
                <a:gd name="connsiteY5" fmla="*/ 0 h 2063502"/>
                <a:gd name="connsiteX6" fmla="*/ 1647438 w 2064425"/>
                <a:gd name="connsiteY6" fmla="*/ 12817 h 2063502"/>
                <a:gd name="connsiteX7" fmla="*/ 314152 w 2064425"/>
                <a:gd name="connsiteY7" fmla="*/ 12817 h 2063502"/>
                <a:gd name="connsiteX8" fmla="*/ 12823 w 2064425"/>
                <a:gd name="connsiteY8" fmla="*/ 314011 h 2063502"/>
                <a:gd name="connsiteX9" fmla="*/ 12823 w 2064425"/>
                <a:gd name="connsiteY9" fmla="*/ 1749491 h 2063502"/>
                <a:gd name="connsiteX10" fmla="*/ 314152 w 2064425"/>
                <a:gd name="connsiteY10" fmla="*/ 2050686 h 2063502"/>
                <a:gd name="connsiteX11" fmla="*/ 2051603 w 2064425"/>
                <a:gd name="connsiteY11" fmla="*/ 2050686 h 2063502"/>
                <a:gd name="connsiteX12" fmla="*/ 2051603 w 2064425"/>
                <a:gd name="connsiteY12" fmla="*/ 431413 h 2063502"/>
                <a:gd name="connsiteX13" fmla="*/ 2064426 w 2064425"/>
                <a:gd name="connsiteY13" fmla="*/ 431413 h 2063502"/>
                <a:gd name="connsiteX14" fmla="*/ 2064426 w 2064425"/>
                <a:gd name="connsiteY14" fmla="*/ 2063503 h 20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64425" h="2063502">
                  <a:moveTo>
                    <a:pt x="2064426" y="2063503"/>
                  </a:moveTo>
                  <a:lnTo>
                    <a:pt x="314152" y="2063503"/>
                  </a:lnTo>
                  <a:cubicBezTo>
                    <a:pt x="141048" y="2063503"/>
                    <a:pt x="0" y="1922518"/>
                    <a:pt x="0" y="1749491"/>
                  </a:cubicBezTo>
                  <a:lnTo>
                    <a:pt x="0" y="314011"/>
                  </a:lnTo>
                  <a:cubicBezTo>
                    <a:pt x="0" y="140985"/>
                    <a:pt x="141048" y="0"/>
                    <a:pt x="314152" y="0"/>
                  </a:cubicBezTo>
                  <a:lnTo>
                    <a:pt x="1647438" y="0"/>
                  </a:lnTo>
                  <a:lnTo>
                    <a:pt x="1647438" y="12817"/>
                  </a:lnTo>
                  <a:lnTo>
                    <a:pt x="314152" y="12817"/>
                  </a:lnTo>
                  <a:cubicBezTo>
                    <a:pt x="147972" y="12817"/>
                    <a:pt x="12823" y="147906"/>
                    <a:pt x="12823" y="314011"/>
                  </a:cubicBezTo>
                  <a:lnTo>
                    <a:pt x="12823" y="1749491"/>
                  </a:lnTo>
                  <a:cubicBezTo>
                    <a:pt x="12823" y="1915597"/>
                    <a:pt x="147972" y="2050686"/>
                    <a:pt x="314152" y="2050686"/>
                  </a:cubicBezTo>
                  <a:lnTo>
                    <a:pt x="2051603" y="2050686"/>
                  </a:lnTo>
                  <a:lnTo>
                    <a:pt x="2051603" y="431413"/>
                  </a:lnTo>
                  <a:lnTo>
                    <a:pt x="2064426" y="431413"/>
                  </a:lnTo>
                  <a:lnTo>
                    <a:pt x="2064426" y="2063503"/>
                  </a:lnTo>
                  <a:close/>
                </a:path>
              </a:pathLst>
            </a:custGeom>
            <a:solidFill>
              <a:schemeClr val="accent1"/>
            </a:solidFill>
            <a:ln w="0"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E8E7BF74-F933-E50B-ECB3-D024A63E88FE}"/>
                </a:ext>
              </a:extLst>
            </p:cNvPr>
            <p:cNvSpPr>
              <a:spLocks noGrp="1" noRot="1" noMove="1" noResize="1" noEditPoints="1" noAdjustHandles="1" noChangeArrowheads="1" noChangeShapeType="1"/>
            </p:cNvSpPr>
            <p:nvPr/>
          </p:nvSpPr>
          <p:spPr bwMode="invGray">
            <a:xfrm>
              <a:off x="6396158" y="1344905"/>
              <a:ext cx="2064425" cy="2063502"/>
            </a:xfrm>
            <a:custGeom>
              <a:avLst/>
              <a:gdLst>
                <a:gd name="connsiteX0" fmla="*/ 1750274 w 2064425"/>
                <a:gd name="connsiteY0" fmla="*/ 2063503 h 2063502"/>
                <a:gd name="connsiteX1" fmla="*/ 314152 w 2064425"/>
                <a:gd name="connsiteY1" fmla="*/ 2063503 h 2063502"/>
                <a:gd name="connsiteX2" fmla="*/ 0 w 2064425"/>
                <a:gd name="connsiteY2" fmla="*/ 1749491 h 2063502"/>
                <a:gd name="connsiteX3" fmla="*/ 0 w 2064425"/>
                <a:gd name="connsiteY3" fmla="*/ 314011 h 2063502"/>
                <a:gd name="connsiteX4" fmla="*/ 314152 w 2064425"/>
                <a:gd name="connsiteY4" fmla="*/ 0 h 2063502"/>
                <a:gd name="connsiteX5" fmla="*/ 2064426 w 2064425"/>
                <a:gd name="connsiteY5" fmla="*/ 0 h 2063502"/>
                <a:gd name="connsiteX6" fmla="*/ 2064426 w 2064425"/>
                <a:gd name="connsiteY6" fmla="*/ 1749491 h 2063502"/>
                <a:gd name="connsiteX7" fmla="*/ 1750274 w 2064425"/>
                <a:gd name="connsiteY7" fmla="*/ 2063503 h 2063502"/>
                <a:gd name="connsiteX8" fmla="*/ 314152 w 2064425"/>
                <a:gd name="connsiteY8" fmla="*/ 12817 h 2063502"/>
                <a:gd name="connsiteX9" fmla="*/ 12823 w 2064425"/>
                <a:gd name="connsiteY9" fmla="*/ 314011 h 2063502"/>
                <a:gd name="connsiteX10" fmla="*/ 12823 w 2064425"/>
                <a:gd name="connsiteY10" fmla="*/ 1749491 h 2063502"/>
                <a:gd name="connsiteX11" fmla="*/ 314152 w 2064425"/>
                <a:gd name="connsiteY11" fmla="*/ 2050686 h 2063502"/>
                <a:gd name="connsiteX12" fmla="*/ 1750274 w 2064425"/>
                <a:gd name="connsiteY12" fmla="*/ 2050686 h 2063502"/>
                <a:gd name="connsiteX13" fmla="*/ 2051603 w 2064425"/>
                <a:gd name="connsiteY13" fmla="*/ 1749491 h 2063502"/>
                <a:gd name="connsiteX14" fmla="*/ 2051603 w 2064425"/>
                <a:gd name="connsiteY14" fmla="*/ 12817 h 2063502"/>
                <a:gd name="connsiteX15" fmla="*/ 314152 w 2064425"/>
                <a:gd name="connsiteY15" fmla="*/ 12817 h 20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4425" h="2063502">
                  <a:moveTo>
                    <a:pt x="1750274" y="2063503"/>
                  </a:moveTo>
                  <a:lnTo>
                    <a:pt x="314152" y="2063503"/>
                  </a:lnTo>
                  <a:cubicBezTo>
                    <a:pt x="141048" y="2063503"/>
                    <a:pt x="0" y="1922518"/>
                    <a:pt x="0" y="1749491"/>
                  </a:cubicBezTo>
                  <a:lnTo>
                    <a:pt x="0" y="314011"/>
                  </a:lnTo>
                  <a:cubicBezTo>
                    <a:pt x="0" y="140985"/>
                    <a:pt x="141048" y="0"/>
                    <a:pt x="314152" y="0"/>
                  </a:cubicBezTo>
                  <a:lnTo>
                    <a:pt x="2064426" y="0"/>
                  </a:lnTo>
                  <a:lnTo>
                    <a:pt x="2064426" y="1749491"/>
                  </a:lnTo>
                  <a:cubicBezTo>
                    <a:pt x="2064426" y="1922518"/>
                    <a:pt x="1923378" y="2063503"/>
                    <a:pt x="1750274" y="2063503"/>
                  </a:cubicBezTo>
                  <a:close/>
                  <a:moveTo>
                    <a:pt x="314152" y="12817"/>
                  </a:moveTo>
                  <a:cubicBezTo>
                    <a:pt x="147972" y="12817"/>
                    <a:pt x="12823" y="147906"/>
                    <a:pt x="12823" y="314011"/>
                  </a:cubicBezTo>
                  <a:lnTo>
                    <a:pt x="12823" y="1749491"/>
                  </a:lnTo>
                  <a:cubicBezTo>
                    <a:pt x="12823" y="1915597"/>
                    <a:pt x="147972" y="2050686"/>
                    <a:pt x="314152" y="2050686"/>
                  </a:cubicBezTo>
                  <a:lnTo>
                    <a:pt x="1750274" y="2050686"/>
                  </a:lnTo>
                  <a:cubicBezTo>
                    <a:pt x="1916454" y="2050686"/>
                    <a:pt x="2051603" y="1915597"/>
                    <a:pt x="2051603" y="1749491"/>
                  </a:cubicBezTo>
                  <a:lnTo>
                    <a:pt x="2051603" y="12817"/>
                  </a:lnTo>
                  <a:lnTo>
                    <a:pt x="314152" y="12817"/>
                  </a:lnTo>
                  <a:close/>
                </a:path>
              </a:pathLst>
            </a:custGeom>
            <a:solidFill>
              <a:schemeClr val="accent1"/>
            </a:solidFill>
            <a:ln w="0" cap="flat">
              <a:noFill/>
              <a:prstDash val="solid"/>
              <a:miter/>
            </a:ln>
          </p:spPr>
          <p:txBody>
            <a:bodyPr rtlCol="0" anchor="ctr"/>
            <a:lstStyle/>
            <a:p>
              <a:endParaRPr lang="en-US"/>
            </a:p>
          </p:txBody>
        </p:sp>
        <p:sp>
          <p:nvSpPr>
            <p:cNvPr id="23" name="Freeform 61">
              <a:extLst>
                <a:ext uri="{FF2B5EF4-FFF2-40B4-BE49-F238E27FC236}">
                  <a16:creationId xmlns:a16="http://schemas.microsoft.com/office/drawing/2014/main" id="{4AF62869-5249-733B-24D5-D3F89D5904B8}"/>
                </a:ext>
              </a:extLst>
            </p:cNvPr>
            <p:cNvSpPr>
              <a:spLocks noGrp="1" noRot="1" noMove="1" noResize="1" noEditPoints="1" noAdjustHandles="1" noChangeArrowheads="1" noChangeShapeType="1"/>
            </p:cNvSpPr>
            <p:nvPr/>
          </p:nvSpPr>
          <p:spPr bwMode="invGray">
            <a:xfrm>
              <a:off x="8447760" y="75416"/>
              <a:ext cx="2064426" cy="1282307"/>
            </a:xfrm>
            <a:custGeom>
              <a:avLst/>
              <a:gdLst>
                <a:gd name="connsiteX0" fmla="*/ 0 w 2064426"/>
                <a:gd name="connsiteY0" fmla="*/ 0 h 1357723"/>
                <a:gd name="connsiteX1" fmla="*/ 12823 w 2064426"/>
                <a:gd name="connsiteY1" fmla="*/ 0 h 1357723"/>
                <a:gd name="connsiteX2" fmla="*/ 12823 w 2064426"/>
                <a:gd name="connsiteY2" fmla="*/ 1344906 h 1357723"/>
                <a:gd name="connsiteX3" fmla="*/ 2051603 w 2064426"/>
                <a:gd name="connsiteY3" fmla="*/ 1344906 h 1357723"/>
                <a:gd name="connsiteX4" fmla="*/ 2051603 w 2064426"/>
                <a:gd name="connsiteY4" fmla="*/ 0 h 1357723"/>
                <a:gd name="connsiteX5" fmla="*/ 2064426 w 2064426"/>
                <a:gd name="connsiteY5" fmla="*/ 0 h 1357723"/>
                <a:gd name="connsiteX6" fmla="*/ 2064426 w 2064426"/>
                <a:gd name="connsiteY6" fmla="*/ 1357723 h 1357723"/>
                <a:gd name="connsiteX7" fmla="*/ 0 w 2064426"/>
                <a:gd name="connsiteY7" fmla="*/ 1357723 h 13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4426" h="1357723">
                  <a:moveTo>
                    <a:pt x="0" y="0"/>
                  </a:moveTo>
                  <a:lnTo>
                    <a:pt x="12823" y="0"/>
                  </a:lnTo>
                  <a:lnTo>
                    <a:pt x="12823" y="1344906"/>
                  </a:lnTo>
                  <a:lnTo>
                    <a:pt x="2051603" y="1344906"/>
                  </a:lnTo>
                  <a:lnTo>
                    <a:pt x="2051603" y="0"/>
                  </a:lnTo>
                  <a:lnTo>
                    <a:pt x="2064426" y="0"/>
                  </a:lnTo>
                  <a:lnTo>
                    <a:pt x="2064426" y="1357723"/>
                  </a:lnTo>
                  <a:lnTo>
                    <a:pt x="0" y="1357723"/>
                  </a:lnTo>
                  <a:close/>
                </a:path>
              </a:pathLst>
            </a:custGeom>
            <a:solidFill>
              <a:schemeClr val="accent1"/>
            </a:solidFill>
            <a:ln w="0" cap="flat">
              <a:noFill/>
              <a:prstDash val="solid"/>
              <a:miter/>
            </a:ln>
          </p:spPr>
          <p:txBody>
            <a:bodyPr rtlCol="0" anchor="ctr"/>
            <a:lstStyle/>
            <a:p>
              <a:endParaRPr lang="en-US"/>
            </a:p>
          </p:txBody>
        </p:sp>
        <p:sp>
          <p:nvSpPr>
            <p:cNvPr id="24" name="Freeform 56">
              <a:extLst>
                <a:ext uri="{FF2B5EF4-FFF2-40B4-BE49-F238E27FC236}">
                  <a16:creationId xmlns:a16="http://schemas.microsoft.com/office/drawing/2014/main" id="{286532FE-78C8-93EE-63C7-1274D1F9EEBF}"/>
                </a:ext>
              </a:extLst>
            </p:cNvPr>
            <p:cNvSpPr>
              <a:spLocks noGrp="1" noRot="1" noMove="1" noResize="1" noEditPoints="1" noAdjustHandles="1" noChangeArrowheads="1" noChangeShapeType="1"/>
            </p:cNvSpPr>
            <p:nvPr/>
          </p:nvSpPr>
          <p:spPr bwMode="invGray">
            <a:xfrm>
              <a:off x="10300615" y="3196931"/>
              <a:ext cx="410320" cy="410137"/>
            </a:xfrm>
            <a:custGeom>
              <a:avLst/>
              <a:gdLst>
                <a:gd name="connsiteX0" fmla="*/ 410321 w 410320"/>
                <a:gd name="connsiteY0" fmla="*/ 157390 h 410137"/>
                <a:gd name="connsiteX1" fmla="*/ 252860 w 410320"/>
                <a:gd name="connsiteY1" fmla="*/ 157390 h 410137"/>
                <a:gd name="connsiteX2" fmla="*/ 252860 w 410320"/>
                <a:gd name="connsiteY2" fmla="*/ 0 h 410137"/>
                <a:gd name="connsiteX3" fmla="*/ 157461 w 410320"/>
                <a:gd name="connsiteY3" fmla="*/ 0 h 410137"/>
                <a:gd name="connsiteX4" fmla="*/ 157461 w 410320"/>
                <a:gd name="connsiteY4" fmla="*/ 157390 h 410137"/>
                <a:gd name="connsiteX5" fmla="*/ 0 w 410320"/>
                <a:gd name="connsiteY5" fmla="*/ 157390 h 410137"/>
                <a:gd name="connsiteX6" fmla="*/ 0 w 410320"/>
                <a:gd name="connsiteY6" fmla="*/ 252747 h 410137"/>
                <a:gd name="connsiteX7" fmla="*/ 157461 w 410320"/>
                <a:gd name="connsiteY7" fmla="*/ 252747 h 410137"/>
                <a:gd name="connsiteX8" fmla="*/ 157461 w 410320"/>
                <a:gd name="connsiteY8" fmla="*/ 410137 h 410137"/>
                <a:gd name="connsiteX9" fmla="*/ 252860 w 410320"/>
                <a:gd name="connsiteY9" fmla="*/ 410137 h 410137"/>
                <a:gd name="connsiteX10" fmla="*/ 252860 w 410320"/>
                <a:gd name="connsiteY10" fmla="*/ 252747 h 410137"/>
                <a:gd name="connsiteX11" fmla="*/ 410321 w 410320"/>
                <a:gd name="connsiteY11" fmla="*/ 252747 h 410137"/>
                <a:gd name="connsiteX12" fmla="*/ 410321 w 410320"/>
                <a:gd name="connsiteY12" fmla="*/ 157390 h 41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320" h="410137">
                  <a:moveTo>
                    <a:pt x="410321" y="157390"/>
                  </a:moveTo>
                  <a:lnTo>
                    <a:pt x="252860" y="157390"/>
                  </a:lnTo>
                  <a:lnTo>
                    <a:pt x="252860" y="0"/>
                  </a:lnTo>
                  <a:lnTo>
                    <a:pt x="157461" y="0"/>
                  </a:lnTo>
                  <a:lnTo>
                    <a:pt x="157461" y="157390"/>
                  </a:lnTo>
                  <a:lnTo>
                    <a:pt x="0" y="157390"/>
                  </a:lnTo>
                  <a:lnTo>
                    <a:pt x="0" y="252747"/>
                  </a:lnTo>
                  <a:lnTo>
                    <a:pt x="157461" y="252747"/>
                  </a:lnTo>
                  <a:lnTo>
                    <a:pt x="157461" y="410137"/>
                  </a:lnTo>
                  <a:lnTo>
                    <a:pt x="252860" y="410137"/>
                  </a:lnTo>
                  <a:lnTo>
                    <a:pt x="252860" y="252747"/>
                  </a:lnTo>
                  <a:lnTo>
                    <a:pt x="410321" y="252747"/>
                  </a:lnTo>
                  <a:lnTo>
                    <a:pt x="410321" y="157390"/>
                  </a:lnTo>
                  <a:close/>
                </a:path>
              </a:pathLst>
            </a:custGeom>
            <a:solidFill>
              <a:srgbClr val="DAFA87"/>
            </a:solidFill>
            <a:ln w="0" cap="flat">
              <a:noFill/>
              <a:prstDash val="solid"/>
              <a:miter/>
            </a:ln>
          </p:spPr>
          <p:txBody>
            <a:bodyPr rtlCol="0" anchor="ctr"/>
            <a:lstStyle/>
            <a:p>
              <a:endParaRPr lang="en-US"/>
            </a:p>
          </p:txBody>
        </p:sp>
        <p:sp>
          <p:nvSpPr>
            <p:cNvPr id="25" name="Freeform 67">
              <a:extLst>
                <a:ext uri="{FF2B5EF4-FFF2-40B4-BE49-F238E27FC236}">
                  <a16:creationId xmlns:a16="http://schemas.microsoft.com/office/drawing/2014/main" id="{D79BDAE2-7929-CAF4-97F6-75CB941DAD44}"/>
                </a:ext>
              </a:extLst>
            </p:cNvPr>
            <p:cNvSpPr>
              <a:spLocks noGrp="1" noRot="1" noMove="1" noResize="1" noEditPoints="1" noAdjustHandles="1" noChangeArrowheads="1" noChangeShapeType="1"/>
            </p:cNvSpPr>
            <p:nvPr userDrawn="1"/>
          </p:nvSpPr>
          <p:spPr bwMode="invGray">
            <a:xfrm>
              <a:off x="10499364" y="1344906"/>
              <a:ext cx="1749198" cy="1646957"/>
            </a:xfrm>
            <a:custGeom>
              <a:avLst/>
              <a:gdLst>
                <a:gd name="connsiteX0" fmla="*/ 0 w 1692636"/>
                <a:gd name="connsiteY0" fmla="*/ 0 h 1646957"/>
                <a:gd name="connsiteX1" fmla="*/ 1692636 w 1692636"/>
                <a:gd name="connsiteY1" fmla="*/ 0 h 1646957"/>
                <a:gd name="connsiteX2" fmla="*/ 1692636 w 1692636"/>
                <a:gd name="connsiteY2" fmla="*/ 12817 h 1646957"/>
                <a:gd name="connsiteX3" fmla="*/ 12823 w 1692636"/>
                <a:gd name="connsiteY3" fmla="*/ 12817 h 1646957"/>
                <a:gd name="connsiteX4" fmla="*/ 12823 w 1692636"/>
                <a:gd name="connsiteY4" fmla="*/ 1646957 h 1646957"/>
                <a:gd name="connsiteX5" fmla="*/ 0 w 1692636"/>
                <a:gd name="connsiteY5" fmla="*/ 1646957 h 1646957"/>
                <a:gd name="connsiteX6" fmla="*/ 0 w 1692636"/>
                <a:gd name="connsiteY6" fmla="*/ 0 h 164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636" h="1646957">
                  <a:moveTo>
                    <a:pt x="0" y="0"/>
                  </a:moveTo>
                  <a:lnTo>
                    <a:pt x="1692636" y="0"/>
                  </a:lnTo>
                  <a:lnTo>
                    <a:pt x="1692636" y="12817"/>
                  </a:lnTo>
                  <a:lnTo>
                    <a:pt x="12823" y="12817"/>
                  </a:lnTo>
                  <a:lnTo>
                    <a:pt x="12823" y="1646957"/>
                  </a:lnTo>
                  <a:lnTo>
                    <a:pt x="0" y="1646957"/>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26" name="Freeform 65">
              <a:extLst>
                <a:ext uri="{FF2B5EF4-FFF2-40B4-BE49-F238E27FC236}">
                  <a16:creationId xmlns:a16="http://schemas.microsoft.com/office/drawing/2014/main" id="{F548E6EA-4DC2-3E72-0D32-ADCCC6EFEBE6}"/>
                </a:ext>
              </a:extLst>
            </p:cNvPr>
            <p:cNvSpPr>
              <a:spLocks noGrp="1" noRot="1" noMove="1" noResize="1" noEditPoints="1" noAdjustHandles="1" noChangeArrowheads="1" noChangeShapeType="1"/>
            </p:cNvSpPr>
            <p:nvPr userDrawn="1"/>
          </p:nvSpPr>
          <p:spPr bwMode="invGray">
            <a:xfrm>
              <a:off x="10916096" y="3395592"/>
              <a:ext cx="1332000" cy="12817"/>
            </a:xfrm>
            <a:custGeom>
              <a:avLst/>
              <a:gdLst>
                <a:gd name="connsiteX0" fmla="*/ 0 w 1275904"/>
                <a:gd name="connsiteY0" fmla="*/ 0 h 12817"/>
                <a:gd name="connsiteX1" fmla="*/ 1275904 w 1275904"/>
                <a:gd name="connsiteY1" fmla="*/ 0 h 12817"/>
                <a:gd name="connsiteX2" fmla="*/ 1275904 w 1275904"/>
                <a:gd name="connsiteY2" fmla="*/ 12817 h 12817"/>
                <a:gd name="connsiteX3" fmla="*/ 0 w 1275904"/>
                <a:gd name="connsiteY3" fmla="*/ 12817 h 12817"/>
                <a:gd name="connsiteX4" fmla="*/ 0 w 1275904"/>
                <a:gd name="connsiteY4" fmla="*/ 0 h 12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904" h="12817">
                  <a:moveTo>
                    <a:pt x="0" y="0"/>
                  </a:moveTo>
                  <a:lnTo>
                    <a:pt x="1275904" y="0"/>
                  </a:lnTo>
                  <a:lnTo>
                    <a:pt x="1275904" y="12817"/>
                  </a:lnTo>
                  <a:lnTo>
                    <a:pt x="0" y="12817"/>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sp>
        <p:nvSpPr>
          <p:cNvPr id="2" name="Title 1"/>
          <p:cNvSpPr>
            <a:spLocks noGrp="1"/>
          </p:cNvSpPr>
          <p:nvPr>
            <p:ph type="ctrTitle" hasCustomPrompt="1"/>
          </p:nvPr>
        </p:nvSpPr>
        <p:spPr>
          <a:xfrm>
            <a:off x="360000" y="2859428"/>
            <a:ext cx="5647100" cy="1008000"/>
          </a:xfrm>
          <a:noFill/>
        </p:spPr>
        <p:txBody>
          <a:bodyPr anchor="ctr" anchorCtr="0"/>
          <a:lstStyle>
            <a:lvl1pPr algn="l">
              <a:lnSpc>
                <a:spcPct val="95000"/>
              </a:lnSpc>
              <a:defRPr sz="6200" b="0">
                <a:solidFill>
                  <a:schemeClr val="accent1"/>
                </a:solidFill>
              </a:defRPr>
            </a:lvl1pPr>
          </a:lstStyle>
          <a:p>
            <a:r>
              <a:rPr lang="en-US"/>
              <a:t>Add Thank you</a:t>
            </a:r>
          </a:p>
        </p:txBody>
      </p:sp>
      <p:sp>
        <p:nvSpPr>
          <p:cNvPr id="13" name="Slide Number Placeholder 12">
            <a:extLst>
              <a:ext uri="{FF2B5EF4-FFF2-40B4-BE49-F238E27FC236}">
                <a16:creationId xmlns:a16="http://schemas.microsoft.com/office/drawing/2014/main" id="{610B8742-C532-4276-A55B-E4E96C675DA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15" name="Legal dynamic" descr="{&quot;templafy&quot;:{&quot;id&quot;:&quot;11cf7a6b-255f-4d33-aa48-654c503281be&quot;}}" title="Form.Cigna_Confidentiality.EvernorthConfidentiality">
            <a:extLst>
              <a:ext uri="{FF2B5EF4-FFF2-40B4-BE49-F238E27FC236}">
                <a16:creationId xmlns:a16="http://schemas.microsoft.com/office/drawing/2014/main" id="{9F01B46A-535C-85FD-CBBA-B7D9FD817E62}"/>
              </a:ext>
            </a:extLst>
          </p:cNvPr>
          <p:cNvSpPr/>
          <p:nvPr userDrawn="1"/>
        </p:nvSpPr>
        <p:spPr>
          <a:xfrm>
            <a:off x="5743575" y="5066753"/>
            <a:ext cx="4610026" cy="1481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All Evernorth Health Services products and services are provided exclusively by or through affiliates of the Evernorth companies, including Evernorth Care Solutions, Inc., Evernorth Behavioral Health, Inc., Evernorth Behavioral Health of Texas, Inc. and Evernorth Behavioral  Health of California, Inc. Some content provided under license. 
Confidential, unpublished property of Evernorth Health Services. Do not duplicate or distribute. Use and distribution limited solely to authorized personnel. © 2024 Evernorth Health Services.</a:t>
            </a:r>
          </a:p>
        </p:txBody>
      </p:sp>
      <p:sp>
        <p:nvSpPr>
          <p:cNvPr id="12" name="Internal Stamp dynamic" descr="{&quot;templafy&quot;:{&quot;id&quot;:&quot;e6805958-4fd6-412a-a4e6-ac129f69afe7&quot;}}" title="Form.Cigna_Confidentiality.Cigna_confidentiality">
            <a:extLst>
              <a:ext uri="{FF2B5EF4-FFF2-40B4-BE49-F238E27FC236}">
                <a16:creationId xmlns:a16="http://schemas.microsoft.com/office/drawing/2014/main" id="{B9FF5140-A3C7-4A6F-E88E-925EAAA065CC}"/>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5" name="Dynamic logo hypermint" descr="{&quot;templafy&quot;:{&quot;id&quot;:&quot;e78e7afc-f769-4bbe-8385-4d63c75228f0&quot;}}">
            <a:extLst>
              <a:ext uri="{FF2B5EF4-FFF2-40B4-BE49-F238E27FC236}">
                <a16:creationId xmlns:a16="http://schemas.microsoft.com/office/drawing/2014/main" id="{34774C1A-E8E3-24C5-6FAE-03BB862EDB2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3" name="Date Placeholder 5">
            <a:extLst>
              <a:ext uri="{FF2B5EF4-FFF2-40B4-BE49-F238E27FC236}">
                <a16:creationId xmlns:a16="http://schemas.microsoft.com/office/drawing/2014/main" id="{10915375-226F-1427-8C85-D2F114E0B207}"/>
              </a:ext>
            </a:extLst>
          </p:cNvPr>
          <p:cNvSpPr>
            <a:spLocks noGrp="1"/>
          </p:cNvSpPr>
          <p:nvPr>
            <p:ph type="dt" sz="half" idx="17"/>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116273127"/>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 End">
    <p:bg bwMode="ltGray">
      <p:bgPr>
        <a:solidFill>
          <a:schemeClr val="bg2"/>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grpSp>
        <p:nvGrpSpPr>
          <p:cNvPr id="3" name="Group graphic">
            <a:extLst>
              <a:ext uri="{FF2B5EF4-FFF2-40B4-BE49-F238E27FC236}">
                <a16:creationId xmlns:a16="http://schemas.microsoft.com/office/drawing/2014/main" id="{4C7F4774-91E3-B988-5D40-9FDA3753868E}"/>
              </a:ext>
            </a:extLst>
          </p:cNvPr>
          <p:cNvGrpSpPr>
            <a:grpSpLocks noGrp="1" noUngrp="1" noRot="1" noMove="1" noResize="1"/>
          </p:cNvGrpSpPr>
          <p:nvPr userDrawn="1"/>
        </p:nvGrpSpPr>
        <p:grpSpPr>
          <a:xfrm>
            <a:off x="6339596" y="0"/>
            <a:ext cx="5852404" cy="6858000"/>
            <a:chOff x="6396158" y="75416"/>
            <a:chExt cx="5852404" cy="6858000"/>
          </a:xfrm>
          <a:solidFill>
            <a:schemeClr val="accent2"/>
          </a:solidFill>
        </p:grpSpPr>
        <p:sp>
          <p:nvSpPr>
            <p:cNvPr id="8" name="Freeform 76">
              <a:extLst>
                <a:ext uri="{FF2B5EF4-FFF2-40B4-BE49-F238E27FC236}">
                  <a16:creationId xmlns:a16="http://schemas.microsoft.com/office/drawing/2014/main" id="{02F4C8F8-B7A1-7A56-1EE6-5574185D9830}"/>
                </a:ext>
              </a:extLst>
            </p:cNvPr>
            <p:cNvSpPr>
              <a:spLocks noGrp="1" noRot="1" noMove="1" noResize="1" noEditPoints="1" noAdjustHandles="1" noChangeArrowheads="1" noChangeShapeType="1"/>
            </p:cNvSpPr>
            <p:nvPr/>
          </p:nvSpPr>
          <p:spPr>
            <a:xfrm>
              <a:off x="10499364" y="5446278"/>
              <a:ext cx="1749198" cy="1487138"/>
            </a:xfrm>
            <a:custGeom>
              <a:avLst/>
              <a:gdLst>
                <a:gd name="connsiteX0" fmla="*/ 0 w 1698987"/>
                <a:gd name="connsiteY0" fmla="*/ 0 h 1418073"/>
                <a:gd name="connsiteX1" fmla="*/ 1698987 w 1698987"/>
                <a:gd name="connsiteY1" fmla="*/ 0 h 1418073"/>
                <a:gd name="connsiteX2" fmla="*/ 1698987 w 1698987"/>
                <a:gd name="connsiteY2" fmla="*/ 12817 h 1418073"/>
                <a:gd name="connsiteX3" fmla="*/ 12823 w 1698987"/>
                <a:gd name="connsiteY3" fmla="*/ 12817 h 1418073"/>
                <a:gd name="connsiteX4" fmla="*/ 12823 w 1698987"/>
                <a:gd name="connsiteY4" fmla="*/ 1418073 h 1418073"/>
                <a:gd name="connsiteX5" fmla="*/ 0 w 1698987"/>
                <a:gd name="connsiteY5" fmla="*/ 1418073 h 141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8987" h="1418073">
                  <a:moveTo>
                    <a:pt x="0" y="0"/>
                  </a:moveTo>
                  <a:lnTo>
                    <a:pt x="1698987" y="0"/>
                  </a:lnTo>
                  <a:lnTo>
                    <a:pt x="1698987" y="12817"/>
                  </a:lnTo>
                  <a:lnTo>
                    <a:pt x="12823" y="12817"/>
                  </a:lnTo>
                  <a:lnTo>
                    <a:pt x="12823" y="1418073"/>
                  </a:lnTo>
                  <a:lnTo>
                    <a:pt x="0" y="1418073"/>
                  </a:lnTo>
                  <a:close/>
                </a:path>
              </a:pathLst>
            </a:custGeom>
            <a:grpFill/>
            <a:ln w="0" cap="flat">
              <a:noFill/>
              <a:prstDash val="solid"/>
              <a:miter/>
            </a:ln>
          </p:spPr>
          <p:txBody>
            <a:bodyPr rtlCol="0" anchor="ctr"/>
            <a:lstStyle/>
            <a:p>
              <a:endParaRPr lang="en-US"/>
            </a:p>
          </p:txBody>
        </p:sp>
        <p:sp>
          <p:nvSpPr>
            <p:cNvPr id="12" name="Freeform 21">
              <a:extLst>
                <a:ext uri="{FF2B5EF4-FFF2-40B4-BE49-F238E27FC236}">
                  <a16:creationId xmlns:a16="http://schemas.microsoft.com/office/drawing/2014/main" id="{B4D69A73-9849-A768-CDB9-946001B253AF}"/>
                </a:ext>
              </a:extLst>
            </p:cNvPr>
            <p:cNvSpPr>
              <a:spLocks noGrp="1" noRot="1" noMove="1" noResize="1" noEditPoints="1" noAdjustHandles="1" noChangeArrowheads="1" noChangeShapeType="1"/>
            </p:cNvSpPr>
            <p:nvPr/>
          </p:nvSpPr>
          <p:spPr>
            <a:xfrm>
              <a:off x="8447761" y="3395591"/>
              <a:ext cx="2064425" cy="2063502"/>
            </a:xfrm>
            <a:custGeom>
              <a:avLst/>
              <a:gdLst>
                <a:gd name="connsiteX0" fmla="*/ 2064426 w 2064425"/>
                <a:gd name="connsiteY0" fmla="*/ 2063503 h 2063502"/>
                <a:gd name="connsiteX1" fmla="*/ 314152 w 2064425"/>
                <a:gd name="connsiteY1" fmla="*/ 2063503 h 2063502"/>
                <a:gd name="connsiteX2" fmla="*/ 0 w 2064425"/>
                <a:gd name="connsiteY2" fmla="*/ 1749491 h 2063502"/>
                <a:gd name="connsiteX3" fmla="*/ 0 w 2064425"/>
                <a:gd name="connsiteY3" fmla="*/ 314011 h 2063502"/>
                <a:gd name="connsiteX4" fmla="*/ 314152 w 2064425"/>
                <a:gd name="connsiteY4" fmla="*/ 0 h 2063502"/>
                <a:gd name="connsiteX5" fmla="*/ 1647438 w 2064425"/>
                <a:gd name="connsiteY5" fmla="*/ 0 h 2063502"/>
                <a:gd name="connsiteX6" fmla="*/ 1647438 w 2064425"/>
                <a:gd name="connsiteY6" fmla="*/ 12817 h 2063502"/>
                <a:gd name="connsiteX7" fmla="*/ 314152 w 2064425"/>
                <a:gd name="connsiteY7" fmla="*/ 12817 h 2063502"/>
                <a:gd name="connsiteX8" fmla="*/ 12823 w 2064425"/>
                <a:gd name="connsiteY8" fmla="*/ 314011 h 2063502"/>
                <a:gd name="connsiteX9" fmla="*/ 12823 w 2064425"/>
                <a:gd name="connsiteY9" fmla="*/ 1749491 h 2063502"/>
                <a:gd name="connsiteX10" fmla="*/ 314152 w 2064425"/>
                <a:gd name="connsiteY10" fmla="*/ 2050686 h 2063502"/>
                <a:gd name="connsiteX11" fmla="*/ 2051603 w 2064425"/>
                <a:gd name="connsiteY11" fmla="*/ 2050686 h 2063502"/>
                <a:gd name="connsiteX12" fmla="*/ 2051603 w 2064425"/>
                <a:gd name="connsiteY12" fmla="*/ 431413 h 2063502"/>
                <a:gd name="connsiteX13" fmla="*/ 2064426 w 2064425"/>
                <a:gd name="connsiteY13" fmla="*/ 431413 h 2063502"/>
                <a:gd name="connsiteX14" fmla="*/ 2064426 w 2064425"/>
                <a:gd name="connsiteY14" fmla="*/ 2063503 h 20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64425" h="2063502">
                  <a:moveTo>
                    <a:pt x="2064426" y="2063503"/>
                  </a:moveTo>
                  <a:lnTo>
                    <a:pt x="314152" y="2063503"/>
                  </a:lnTo>
                  <a:cubicBezTo>
                    <a:pt x="141048" y="2063503"/>
                    <a:pt x="0" y="1922518"/>
                    <a:pt x="0" y="1749491"/>
                  </a:cubicBezTo>
                  <a:lnTo>
                    <a:pt x="0" y="314011"/>
                  </a:lnTo>
                  <a:cubicBezTo>
                    <a:pt x="0" y="140985"/>
                    <a:pt x="141048" y="0"/>
                    <a:pt x="314152" y="0"/>
                  </a:cubicBezTo>
                  <a:lnTo>
                    <a:pt x="1647438" y="0"/>
                  </a:lnTo>
                  <a:lnTo>
                    <a:pt x="1647438" y="12817"/>
                  </a:lnTo>
                  <a:lnTo>
                    <a:pt x="314152" y="12817"/>
                  </a:lnTo>
                  <a:cubicBezTo>
                    <a:pt x="147972" y="12817"/>
                    <a:pt x="12823" y="147906"/>
                    <a:pt x="12823" y="314011"/>
                  </a:cubicBezTo>
                  <a:lnTo>
                    <a:pt x="12823" y="1749491"/>
                  </a:lnTo>
                  <a:cubicBezTo>
                    <a:pt x="12823" y="1915597"/>
                    <a:pt x="147972" y="2050686"/>
                    <a:pt x="314152" y="2050686"/>
                  </a:cubicBezTo>
                  <a:lnTo>
                    <a:pt x="2051603" y="2050686"/>
                  </a:lnTo>
                  <a:lnTo>
                    <a:pt x="2051603" y="431413"/>
                  </a:lnTo>
                  <a:lnTo>
                    <a:pt x="2064426" y="431413"/>
                  </a:lnTo>
                  <a:lnTo>
                    <a:pt x="2064426" y="2063503"/>
                  </a:lnTo>
                  <a:close/>
                </a:path>
              </a:pathLst>
            </a:custGeom>
            <a:grpFill/>
            <a:ln w="0"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524E4213-679F-A5AB-A8B4-F07C41020E2C}"/>
                </a:ext>
              </a:extLst>
            </p:cNvPr>
            <p:cNvSpPr>
              <a:spLocks noGrp="1" noRot="1" noMove="1" noResize="1" noEditPoints="1" noAdjustHandles="1" noChangeArrowheads="1" noChangeShapeType="1"/>
            </p:cNvSpPr>
            <p:nvPr/>
          </p:nvSpPr>
          <p:spPr>
            <a:xfrm>
              <a:off x="6396158" y="1344905"/>
              <a:ext cx="2064425" cy="2063502"/>
            </a:xfrm>
            <a:custGeom>
              <a:avLst/>
              <a:gdLst>
                <a:gd name="connsiteX0" fmla="*/ 1750274 w 2064425"/>
                <a:gd name="connsiteY0" fmla="*/ 2063503 h 2063502"/>
                <a:gd name="connsiteX1" fmla="*/ 314152 w 2064425"/>
                <a:gd name="connsiteY1" fmla="*/ 2063503 h 2063502"/>
                <a:gd name="connsiteX2" fmla="*/ 0 w 2064425"/>
                <a:gd name="connsiteY2" fmla="*/ 1749491 h 2063502"/>
                <a:gd name="connsiteX3" fmla="*/ 0 w 2064425"/>
                <a:gd name="connsiteY3" fmla="*/ 314011 h 2063502"/>
                <a:gd name="connsiteX4" fmla="*/ 314152 w 2064425"/>
                <a:gd name="connsiteY4" fmla="*/ 0 h 2063502"/>
                <a:gd name="connsiteX5" fmla="*/ 2064426 w 2064425"/>
                <a:gd name="connsiteY5" fmla="*/ 0 h 2063502"/>
                <a:gd name="connsiteX6" fmla="*/ 2064426 w 2064425"/>
                <a:gd name="connsiteY6" fmla="*/ 1749491 h 2063502"/>
                <a:gd name="connsiteX7" fmla="*/ 1750274 w 2064425"/>
                <a:gd name="connsiteY7" fmla="*/ 2063503 h 2063502"/>
                <a:gd name="connsiteX8" fmla="*/ 314152 w 2064425"/>
                <a:gd name="connsiteY8" fmla="*/ 12817 h 2063502"/>
                <a:gd name="connsiteX9" fmla="*/ 12823 w 2064425"/>
                <a:gd name="connsiteY9" fmla="*/ 314011 h 2063502"/>
                <a:gd name="connsiteX10" fmla="*/ 12823 w 2064425"/>
                <a:gd name="connsiteY10" fmla="*/ 1749491 h 2063502"/>
                <a:gd name="connsiteX11" fmla="*/ 314152 w 2064425"/>
                <a:gd name="connsiteY11" fmla="*/ 2050686 h 2063502"/>
                <a:gd name="connsiteX12" fmla="*/ 1750274 w 2064425"/>
                <a:gd name="connsiteY12" fmla="*/ 2050686 h 2063502"/>
                <a:gd name="connsiteX13" fmla="*/ 2051603 w 2064425"/>
                <a:gd name="connsiteY13" fmla="*/ 1749491 h 2063502"/>
                <a:gd name="connsiteX14" fmla="*/ 2051603 w 2064425"/>
                <a:gd name="connsiteY14" fmla="*/ 12817 h 2063502"/>
                <a:gd name="connsiteX15" fmla="*/ 314152 w 2064425"/>
                <a:gd name="connsiteY15" fmla="*/ 12817 h 20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4425" h="2063502">
                  <a:moveTo>
                    <a:pt x="1750274" y="2063503"/>
                  </a:moveTo>
                  <a:lnTo>
                    <a:pt x="314152" y="2063503"/>
                  </a:lnTo>
                  <a:cubicBezTo>
                    <a:pt x="141048" y="2063503"/>
                    <a:pt x="0" y="1922518"/>
                    <a:pt x="0" y="1749491"/>
                  </a:cubicBezTo>
                  <a:lnTo>
                    <a:pt x="0" y="314011"/>
                  </a:lnTo>
                  <a:cubicBezTo>
                    <a:pt x="0" y="140985"/>
                    <a:pt x="141048" y="0"/>
                    <a:pt x="314152" y="0"/>
                  </a:cubicBezTo>
                  <a:lnTo>
                    <a:pt x="2064426" y="0"/>
                  </a:lnTo>
                  <a:lnTo>
                    <a:pt x="2064426" y="1749491"/>
                  </a:lnTo>
                  <a:cubicBezTo>
                    <a:pt x="2064426" y="1922518"/>
                    <a:pt x="1923378" y="2063503"/>
                    <a:pt x="1750274" y="2063503"/>
                  </a:cubicBezTo>
                  <a:close/>
                  <a:moveTo>
                    <a:pt x="314152" y="12817"/>
                  </a:moveTo>
                  <a:cubicBezTo>
                    <a:pt x="147972" y="12817"/>
                    <a:pt x="12823" y="147906"/>
                    <a:pt x="12823" y="314011"/>
                  </a:cubicBezTo>
                  <a:lnTo>
                    <a:pt x="12823" y="1749491"/>
                  </a:lnTo>
                  <a:cubicBezTo>
                    <a:pt x="12823" y="1915597"/>
                    <a:pt x="147972" y="2050686"/>
                    <a:pt x="314152" y="2050686"/>
                  </a:cubicBezTo>
                  <a:lnTo>
                    <a:pt x="1750274" y="2050686"/>
                  </a:lnTo>
                  <a:cubicBezTo>
                    <a:pt x="1916454" y="2050686"/>
                    <a:pt x="2051603" y="1915597"/>
                    <a:pt x="2051603" y="1749491"/>
                  </a:cubicBezTo>
                  <a:lnTo>
                    <a:pt x="2051603" y="12817"/>
                  </a:lnTo>
                  <a:lnTo>
                    <a:pt x="314152" y="12817"/>
                  </a:lnTo>
                  <a:close/>
                </a:path>
              </a:pathLst>
            </a:custGeom>
            <a:grpFill/>
            <a:ln w="0" cap="flat">
              <a:noFill/>
              <a:prstDash val="solid"/>
              <a:miter/>
            </a:ln>
          </p:spPr>
          <p:txBody>
            <a:bodyPr rtlCol="0" anchor="ctr"/>
            <a:lstStyle/>
            <a:p>
              <a:endParaRPr lang="en-US"/>
            </a:p>
          </p:txBody>
        </p:sp>
        <p:sp>
          <p:nvSpPr>
            <p:cNvPr id="15" name="Freeform 61">
              <a:extLst>
                <a:ext uri="{FF2B5EF4-FFF2-40B4-BE49-F238E27FC236}">
                  <a16:creationId xmlns:a16="http://schemas.microsoft.com/office/drawing/2014/main" id="{2BD075AE-1EF0-FEAC-627C-1B8737DA5C0B}"/>
                </a:ext>
              </a:extLst>
            </p:cNvPr>
            <p:cNvSpPr>
              <a:spLocks noGrp="1" noRot="1" noMove="1" noResize="1" noEditPoints="1" noAdjustHandles="1" noChangeArrowheads="1" noChangeShapeType="1"/>
            </p:cNvSpPr>
            <p:nvPr/>
          </p:nvSpPr>
          <p:spPr>
            <a:xfrm>
              <a:off x="8447760" y="75416"/>
              <a:ext cx="2064426" cy="1282307"/>
            </a:xfrm>
            <a:custGeom>
              <a:avLst/>
              <a:gdLst>
                <a:gd name="connsiteX0" fmla="*/ 0 w 2064426"/>
                <a:gd name="connsiteY0" fmla="*/ 0 h 1357723"/>
                <a:gd name="connsiteX1" fmla="*/ 12823 w 2064426"/>
                <a:gd name="connsiteY1" fmla="*/ 0 h 1357723"/>
                <a:gd name="connsiteX2" fmla="*/ 12823 w 2064426"/>
                <a:gd name="connsiteY2" fmla="*/ 1344906 h 1357723"/>
                <a:gd name="connsiteX3" fmla="*/ 2051603 w 2064426"/>
                <a:gd name="connsiteY3" fmla="*/ 1344906 h 1357723"/>
                <a:gd name="connsiteX4" fmla="*/ 2051603 w 2064426"/>
                <a:gd name="connsiteY4" fmla="*/ 0 h 1357723"/>
                <a:gd name="connsiteX5" fmla="*/ 2064426 w 2064426"/>
                <a:gd name="connsiteY5" fmla="*/ 0 h 1357723"/>
                <a:gd name="connsiteX6" fmla="*/ 2064426 w 2064426"/>
                <a:gd name="connsiteY6" fmla="*/ 1357723 h 1357723"/>
                <a:gd name="connsiteX7" fmla="*/ 0 w 2064426"/>
                <a:gd name="connsiteY7" fmla="*/ 1357723 h 13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4426" h="1357723">
                  <a:moveTo>
                    <a:pt x="0" y="0"/>
                  </a:moveTo>
                  <a:lnTo>
                    <a:pt x="12823" y="0"/>
                  </a:lnTo>
                  <a:lnTo>
                    <a:pt x="12823" y="1344906"/>
                  </a:lnTo>
                  <a:lnTo>
                    <a:pt x="2051603" y="1344906"/>
                  </a:lnTo>
                  <a:lnTo>
                    <a:pt x="2051603" y="0"/>
                  </a:lnTo>
                  <a:lnTo>
                    <a:pt x="2064426" y="0"/>
                  </a:lnTo>
                  <a:lnTo>
                    <a:pt x="2064426" y="1357723"/>
                  </a:lnTo>
                  <a:lnTo>
                    <a:pt x="0" y="1357723"/>
                  </a:lnTo>
                  <a:close/>
                </a:path>
              </a:pathLst>
            </a:custGeom>
            <a:grpFill/>
            <a:ln w="0" cap="flat">
              <a:noFill/>
              <a:prstDash val="solid"/>
              <a:miter/>
            </a:ln>
          </p:spPr>
          <p:txBody>
            <a:bodyPr rtlCol="0" anchor="ctr"/>
            <a:lstStyle/>
            <a:p>
              <a:endParaRPr lang="en-US"/>
            </a:p>
          </p:txBody>
        </p:sp>
        <p:sp>
          <p:nvSpPr>
            <p:cNvPr id="16" name="Freeform 56">
              <a:extLst>
                <a:ext uri="{FF2B5EF4-FFF2-40B4-BE49-F238E27FC236}">
                  <a16:creationId xmlns:a16="http://schemas.microsoft.com/office/drawing/2014/main" id="{DFECA281-80B2-B366-39D6-0CB0C6CB43A9}"/>
                </a:ext>
              </a:extLst>
            </p:cNvPr>
            <p:cNvSpPr>
              <a:spLocks noGrp="1" noRot="1" noMove="1" noResize="1" noEditPoints="1" noAdjustHandles="1" noChangeArrowheads="1" noChangeShapeType="1"/>
            </p:cNvSpPr>
            <p:nvPr/>
          </p:nvSpPr>
          <p:spPr>
            <a:xfrm>
              <a:off x="10300615" y="3196931"/>
              <a:ext cx="410320" cy="410137"/>
            </a:xfrm>
            <a:custGeom>
              <a:avLst/>
              <a:gdLst>
                <a:gd name="connsiteX0" fmla="*/ 410321 w 410320"/>
                <a:gd name="connsiteY0" fmla="*/ 157390 h 410137"/>
                <a:gd name="connsiteX1" fmla="*/ 252860 w 410320"/>
                <a:gd name="connsiteY1" fmla="*/ 157390 h 410137"/>
                <a:gd name="connsiteX2" fmla="*/ 252860 w 410320"/>
                <a:gd name="connsiteY2" fmla="*/ 0 h 410137"/>
                <a:gd name="connsiteX3" fmla="*/ 157461 w 410320"/>
                <a:gd name="connsiteY3" fmla="*/ 0 h 410137"/>
                <a:gd name="connsiteX4" fmla="*/ 157461 w 410320"/>
                <a:gd name="connsiteY4" fmla="*/ 157390 h 410137"/>
                <a:gd name="connsiteX5" fmla="*/ 0 w 410320"/>
                <a:gd name="connsiteY5" fmla="*/ 157390 h 410137"/>
                <a:gd name="connsiteX6" fmla="*/ 0 w 410320"/>
                <a:gd name="connsiteY6" fmla="*/ 252747 h 410137"/>
                <a:gd name="connsiteX7" fmla="*/ 157461 w 410320"/>
                <a:gd name="connsiteY7" fmla="*/ 252747 h 410137"/>
                <a:gd name="connsiteX8" fmla="*/ 157461 w 410320"/>
                <a:gd name="connsiteY8" fmla="*/ 410137 h 410137"/>
                <a:gd name="connsiteX9" fmla="*/ 252860 w 410320"/>
                <a:gd name="connsiteY9" fmla="*/ 410137 h 410137"/>
                <a:gd name="connsiteX10" fmla="*/ 252860 w 410320"/>
                <a:gd name="connsiteY10" fmla="*/ 252747 h 410137"/>
                <a:gd name="connsiteX11" fmla="*/ 410321 w 410320"/>
                <a:gd name="connsiteY11" fmla="*/ 252747 h 410137"/>
                <a:gd name="connsiteX12" fmla="*/ 410321 w 410320"/>
                <a:gd name="connsiteY12" fmla="*/ 157390 h 41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320" h="410137">
                  <a:moveTo>
                    <a:pt x="410321" y="157390"/>
                  </a:moveTo>
                  <a:lnTo>
                    <a:pt x="252860" y="157390"/>
                  </a:lnTo>
                  <a:lnTo>
                    <a:pt x="252860" y="0"/>
                  </a:lnTo>
                  <a:lnTo>
                    <a:pt x="157461" y="0"/>
                  </a:lnTo>
                  <a:lnTo>
                    <a:pt x="157461" y="157390"/>
                  </a:lnTo>
                  <a:lnTo>
                    <a:pt x="0" y="157390"/>
                  </a:lnTo>
                  <a:lnTo>
                    <a:pt x="0" y="252747"/>
                  </a:lnTo>
                  <a:lnTo>
                    <a:pt x="157461" y="252747"/>
                  </a:lnTo>
                  <a:lnTo>
                    <a:pt x="157461" y="410137"/>
                  </a:lnTo>
                  <a:lnTo>
                    <a:pt x="252860" y="410137"/>
                  </a:lnTo>
                  <a:lnTo>
                    <a:pt x="252860" y="252747"/>
                  </a:lnTo>
                  <a:lnTo>
                    <a:pt x="410321" y="252747"/>
                  </a:lnTo>
                  <a:lnTo>
                    <a:pt x="410321" y="157390"/>
                  </a:lnTo>
                  <a:close/>
                </a:path>
              </a:pathLst>
            </a:custGeom>
            <a:solidFill>
              <a:srgbClr val="008F83"/>
            </a:solidFill>
            <a:ln w="0" cap="flat">
              <a:noFill/>
              <a:prstDash val="solid"/>
              <a:miter/>
            </a:ln>
          </p:spPr>
          <p:txBody>
            <a:bodyPr rtlCol="0" anchor="ctr"/>
            <a:lstStyle/>
            <a:p>
              <a:endParaRPr lang="en-US"/>
            </a:p>
          </p:txBody>
        </p:sp>
        <p:sp>
          <p:nvSpPr>
            <p:cNvPr id="17" name="Freeform 67">
              <a:extLst>
                <a:ext uri="{FF2B5EF4-FFF2-40B4-BE49-F238E27FC236}">
                  <a16:creationId xmlns:a16="http://schemas.microsoft.com/office/drawing/2014/main" id="{15E23DFE-D760-B790-7B2A-8A43A8E31786}"/>
                </a:ext>
              </a:extLst>
            </p:cNvPr>
            <p:cNvSpPr>
              <a:spLocks noGrp="1" noRot="1" noMove="1" noResize="1" noEditPoints="1" noAdjustHandles="1" noChangeArrowheads="1" noChangeShapeType="1"/>
            </p:cNvSpPr>
            <p:nvPr userDrawn="1"/>
          </p:nvSpPr>
          <p:spPr>
            <a:xfrm>
              <a:off x="10499364" y="1344906"/>
              <a:ext cx="1749198" cy="1646957"/>
            </a:xfrm>
            <a:custGeom>
              <a:avLst/>
              <a:gdLst>
                <a:gd name="connsiteX0" fmla="*/ 0 w 1692636"/>
                <a:gd name="connsiteY0" fmla="*/ 0 h 1646957"/>
                <a:gd name="connsiteX1" fmla="*/ 1692636 w 1692636"/>
                <a:gd name="connsiteY1" fmla="*/ 0 h 1646957"/>
                <a:gd name="connsiteX2" fmla="*/ 1692636 w 1692636"/>
                <a:gd name="connsiteY2" fmla="*/ 12817 h 1646957"/>
                <a:gd name="connsiteX3" fmla="*/ 12823 w 1692636"/>
                <a:gd name="connsiteY3" fmla="*/ 12817 h 1646957"/>
                <a:gd name="connsiteX4" fmla="*/ 12823 w 1692636"/>
                <a:gd name="connsiteY4" fmla="*/ 1646957 h 1646957"/>
                <a:gd name="connsiteX5" fmla="*/ 0 w 1692636"/>
                <a:gd name="connsiteY5" fmla="*/ 1646957 h 1646957"/>
                <a:gd name="connsiteX6" fmla="*/ 0 w 1692636"/>
                <a:gd name="connsiteY6" fmla="*/ 0 h 164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636" h="1646957">
                  <a:moveTo>
                    <a:pt x="0" y="0"/>
                  </a:moveTo>
                  <a:lnTo>
                    <a:pt x="1692636" y="0"/>
                  </a:lnTo>
                  <a:lnTo>
                    <a:pt x="1692636" y="12817"/>
                  </a:lnTo>
                  <a:lnTo>
                    <a:pt x="12823" y="12817"/>
                  </a:lnTo>
                  <a:lnTo>
                    <a:pt x="12823" y="1646957"/>
                  </a:lnTo>
                  <a:lnTo>
                    <a:pt x="0" y="1646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sp>
          <p:nvSpPr>
            <p:cNvPr id="18" name="Freeform 65">
              <a:extLst>
                <a:ext uri="{FF2B5EF4-FFF2-40B4-BE49-F238E27FC236}">
                  <a16:creationId xmlns:a16="http://schemas.microsoft.com/office/drawing/2014/main" id="{BA417C09-F446-DD26-FBBA-5CD31B67C4D6}"/>
                </a:ext>
              </a:extLst>
            </p:cNvPr>
            <p:cNvSpPr>
              <a:spLocks noGrp="1" noRot="1" noMove="1" noResize="1" noEditPoints="1" noAdjustHandles="1" noChangeArrowheads="1" noChangeShapeType="1"/>
            </p:cNvSpPr>
            <p:nvPr userDrawn="1"/>
          </p:nvSpPr>
          <p:spPr>
            <a:xfrm>
              <a:off x="10916096" y="3395592"/>
              <a:ext cx="1332000" cy="12817"/>
            </a:xfrm>
            <a:custGeom>
              <a:avLst/>
              <a:gdLst>
                <a:gd name="connsiteX0" fmla="*/ 0 w 1275904"/>
                <a:gd name="connsiteY0" fmla="*/ 0 h 12817"/>
                <a:gd name="connsiteX1" fmla="*/ 1275904 w 1275904"/>
                <a:gd name="connsiteY1" fmla="*/ 0 h 12817"/>
                <a:gd name="connsiteX2" fmla="*/ 1275904 w 1275904"/>
                <a:gd name="connsiteY2" fmla="*/ 12817 h 12817"/>
                <a:gd name="connsiteX3" fmla="*/ 0 w 1275904"/>
                <a:gd name="connsiteY3" fmla="*/ 12817 h 12817"/>
                <a:gd name="connsiteX4" fmla="*/ 0 w 1275904"/>
                <a:gd name="connsiteY4" fmla="*/ 0 h 12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904" h="12817">
                  <a:moveTo>
                    <a:pt x="0" y="0"/>
                  </a:moveTo>
                  <a:lnTo>
                    <a:pt x="1275904" y="0"/>
                  </a:lnTo>
                  <a:lnTo>
                    <a:pt x="1275904" y="12817"/>
                  </a:lnTo>
                  <a:lnTo>
                    <a:pt x="0" y="1281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a:p>
          </p:txBody>
        </p:sp>
      </p:grpSp>
      <p:sp>
        <p:nvSpPr>
          <p:cNvPr id="9" name="Title 1">
            <a:extLst>
              <a:ext uri="{FF2B5EF4-FFF2-40B4-BE49-F238E27FC236}">
                <a16:creationId xmlns:a16="http://schemas.microsoft.com/office/drawing/2014/main" id="{491ADEAC-C7FB-9CFE-2988-34C6A6DB74BB}"/>
              </a:ext>
            </a:extLst>
          </p:cNvPr>
          <p:cNvSpPr>
            <a:spLocks noGrp="1"/>
          </p:cNvSpPr>
          <p:nvPr>
            <p:ph type="ctrTitle" hasCustomPrompt="1"/>
          </p:nvPr>
        </p:nvSpPr>
        <p:spPr>
          <a:xfrm>
            <a:off x="360000" y="2859428"/>
            <a:ext cx="5647100" cy="1008000"/>
          </a:xfrm>
          <a:noFill/>
        </p:spPr>
        <p:txBody>
          <a:bodyPr anchor="ctr" anchorCtr="0"/>
          <a:lstStyle>
            <a:lvl1pPr algn="l">
              <a:lnSpc>
                <a:spcPct val="95000"/>
              </a:lnSpc>
              <a:defRPr sz="6200" b="0">
                <a:solidFill>
                  <a:srgbClr val="035C67"/>
                </a:solidFill>
              </a:defRPr>
            </a:lvl1pPr>
          </a:lstStyle>
          <a:p>
            <a:r>
              <a:rPr lang="en-US"/>
              <a:t>Add Thank you</a:t>
            </a:r>
          </a:p>
        </p:txBody>
      </p:sp>
      <p:sp>
        <p:nvSpPr>
          <p:cNvPr id="13" name="Slide Number Placeholder 12">
            <a:extLst>
              <a:ext uri="{FF2B5EF4-FFF2-40B4-BE49-F238E27FC236}">
                <a16:creationId xmlns:a16="http://schemas.microsoft.com/office/drawing/2014/main" id="{610B8742-C532-4276-A55B-E4E96C675DA4}"/>
              </a:ext>
            </a:extLst>
          </p:cNvPr>
          <p:cNvSpPr>
            <a:spLocks noGrp="1"/>
          </p:cNvSpPr>
          <p:nvPr>
            <p:ph type="sldNum" sz="quarter" idx="16"/>
          </p:nvPr>
        </p:nvSpPr>
        <p:spPr/>
        <p:txBody>
          <a:bodyPr/>
          <a:lstStyle>
            <a:lvl1pPr>
              <a:defRPr>
                <a:solidFill>
                  <a:srgbClr val="035C67"/>
                </a:solidFill>
              </a:defRPr>
            </a:lvl1pPr>
          </a:lstStyle>
          <a:p>
            <a:fld id="{23AA811B-2EBD-4900-905E-5BE206449611}" type="slidenum">
              <a:rPr lang="en-US" smtClean="0"/>
              <a:pPr/>
              <a:t>‹#›</a:t>
            </a:fld>
            <a:endParaRPr lang="en-US"/>
          </a:p>
        </p:txBody>
      </p:sp>
      <p:pic>
        <p:nvPicPr>
          <p:cNvPr id="5" name="Dynamic logo dark mint" descr="{&quot;templafy&quot;:{&quot;id&quot;:&quot;b4ed33e9-1e69-4972-b9ff-b6456039e957&quot;}}">
            <a:extLst>
              <a:ext uri="{FF2B5EF4-FFF2-40B4-BE49-F238E27FC236}">
                <a16:creationId xmlns:a16="http://schemas.microsoft.com/office/drawing/2014/main" id="{A1F94EF0-0B11-D4E3-F105-A0B56DAC317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22" name="Legal dynamic" descr="{&quot;templafy&quot;:{&quot;id&quot;:&quot;b5a6ad47-5310-4303-91d5-f7a04c7dcc56&quot;}}" title="Form.Cigna_Confidentiality.EvernorthConfidentiality">
            <a:extLst>
              <a:ext uri="{FF2B5EF4-FFF2-40B4-BE49-F238E27FC236}">
                <a16:creationId xmlns:a16="http://schemas.microsoft.com/office/drawing/2014/main" id="{25518CBB-38BE-C5F2-4175-6C9E78FBB615}"/>
              </a:ext>
            </a:extLst>
          </p:cNvPr>
          <p:cNvSpPr/>
          <p:nvPr userDrawn="1"/>
        </p:nvSpPr>
        <p:spPr>
          <a:xfrm>
            <a:off x="5743575" y="5066753"/>
            <a:ext cx="4610026" cy="1481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All Evernorth Health Services products and services are provided exclusively by or through affiliates of the Evernorth companies, including Evernorth Care Solutions, Inc., Evernorth Behavioral Health, Inc., Evernorth Behavioral Health of Texas, Inc. and Evernorth Behavioral  Health of California, Inc. Some content provided under license. 
Confidential, unpublished property of Evernorth Health Services. Do not duplicate or distribute. Use and distribution limited solely to authorized personnel. © 2024 Evernorth Health Services.</a:t>
            </a:r>
          </a:p>
        </p:txBody>
      </p:sp>
      <p:sp>
        <p:nvSpPr>
          <p:cNvPr id="23" name="Internal Stamp dynamic" descr="{&quot;templafy&quot;:{&quot;id&quot;:&quot;b7c7e176-90ff-4dbc-b17f-6855a097452d&quot;}}" title="Form.Cigna_Confidentiality.Cigna_confidentiality">
            <a:extLst>
              <a:ext uri="{FF2B5EF4-FFF2-40B4-BE49-F238E27FC236}">
                <a16:creationId xmlns:a16="http://schemas.microsoft.com/office/drawing/2014/main" id="{21342585-89CD-24C6-6D0A-7F636F0F0499}"/>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sp>
        <p:nvSpPr>
          <p:cNvPr id="2" name="Date Placeholder 1">
            <a:extLst>
              <a:ext uri="{FF2B5EF4-FFF2-40B4-BE49-F238E27FC236}">
                <a16:creationId xmlns:a16="http://schemas.microsoft.com/office/drawing/2014/main" id="{B5F23221-5B6C-B73C-0C12-77450D428408}"/>
              </a:ext>
            </a:extLst>
          </p:cNvPr>
          <p:cNvSpPr>
            <a:spLocks noGrp="1"/>
          </p:cNvSpPr>
          <p:nvPr>
            <p:ph type="dt" sz="half" idx="17"/>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1667682158"/>
      </p:ext>
    </p:extLst>
  </p:cSld>
  <p:clrMapOvr>
    <a:masterClrMapping/>
  </p:clrMapOvr>
  <p:extLst>
    <p:ext uri="{DCECCB84-F9BA-43D5-87BE-67443E8EF086}">
      <p15:sldGuideLst xmlns:p15="http://schemas.microsoft.com/office/powerpoint/2012/main">
        <p15:guide id="1" orient="horz" pos="2309">
          <p15:clr>
            <a:srgbClr val="F26B43"/>
          </p15:clr>
        </p15:guide>
        <p15:guide id="2" orient="horz" pos="2083">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 End ">
    <p:bg bwMode="ltGray">
      <p:bgPr>
        <a:solidFill>
          <a:schemeClr val="accent3"/>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pic>
        <p:nvPicPr>
          <p:cNvPr id="15" name="Graphic 14">
            <a:extLst>
              <a:ext uri="{FF2B5EF4-FFF2-40B4-BE49-F238E27FC236}">
                <a16:creationId xmlns:a16="http://schemas.microsoft.com/office/drawing/2014/main" id="{A373848D-BEC8-22F9-6800-70109B361772}"/>
              </a:ext>
            </a:extLst>
          </p:cNvPr>
          <p:cNvPicPr>
            <a:picLocks noGrp="1" noRot="1" noChangeAspect="1" noMove="1" noResize="1" noEditPoints="1" noAdjustHandles="1" noChangeArrowheads="1" noChangeShapeType="1" noCrop="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bwMode="white">
          <a:xfrm>
            <a:off x="3898200" y="2929075"/>
            <a:ext cx="4395600" cy="900000"/>
          </a:xfrm>
          <a:noFill/>
        </p:spPr>
        <p:txBody>
          <a:bodyPr anchor="ctr" anchorCtr="0"/>
          <a:lstStyle>
            <a:lvl1pPr algn="ctr">
              <a:lnSpc>
                <a:spcPct val="95000"/>
              </a:lnSpc>
              <a:defRPr sz="5000" b="0">
                <a:solidFill>
                  <a:schemeClr val="accent1"/>
                </a:solidFill>
              </a:defRPr>
            </a:lvl1pPr>
          </a:lstStyle>
          <a:p>
            <a:r>
              <a:rPr lang="en-US"/>
              <a:t>Add Thank you</a:t>
            </a:r>
          </a:p>
        </p:txBody>
      </p:sp>
      <p:sp>
        <p:nvSpPr>
          <p:cNvPr id="3" name="Legal dynamic" descr="{&quot;templafy&quot;:{&quot;id&quot;:&quot;228fe5b9-60d0-437e-9903-db045e31517f&quot;}}" title="Form.Cigna_Confidentiality.EvernorthConfidentiality">
            <a:extLst>
              <a:ext uri="{FF2B5EF4-FFF2-40B4-BE49-F238E27FC236}">
                <a16:creationId xmlns:a16="http://schemas.microsoft.com/office/drawing/2014/main" id="{91DFF22F-C1FE-6648-344E-50EBE2159A3E}"/>
              </a:ext>
            </a:extLst>
          </p:cNvPr>
          <p:cNvSpPr/>
          <p:nvPr userDrawn="1"/>
        </p:nvSpPr>
        <p:spPr>
          <a:xfrm>
            <a:off x="5739319" y="5066753"/>
            <a:ext cx="4614282" cy="1481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All Evernorth Health Services products and services are provided exclusively by or through affiliates of the Evernorth companies, including Evernorth Care Solutions, Inc., Evernorth Behavioral Health, Inc., Evernorth Behavioral Health of Texas, Inc. and Evernorth Behavioral  Health of California, Inc. Some content provided under license. 
Confidential, unpublished property of Evernorth Health Services. Do not duplicate or distribute. Use and distribution limited solely to authorized personnel. © 2024 Evernorth Health Services.</a:t>
            </a:r>
          </a:p>
        </p:txBody>
      </p:sp>
      <p:sp>
        <p:nvSpPr>
          <p:cNvPr id="7" name="Internal Stamp dynamic" descr="{&quot;templafy&quot;:{&quot;id&quot;:&quot;e3ba63c6-2c52-4c93-8e2b-637cf390a3f4&quot;}}" title="Form.Cigna_Confidentiality.Cigna_confidentiality">
            <a:extLst>
              <a:ext uri="{FF2B5EF4-FFF2-40B4-BE49-F238E27FC236}">
                <a16:creationId xmlns:a16="http://schemas.microsoft.com/office/drawing/2014/main" id="{BFD41DC4-E868-1057-5C0D-E0FF70DA49D4}"/>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pic>
        <p:nvPicPr>
          <p:cNvPr id="8" name="Dynamic logo hypermint" descr="{&quot;templafy&quot;:{&quot;id&quot;:&quot;ae8a01eb-d58e-44b2-b05d-0f65a5c6eb85&quot;}}">
            <a:extLst>
              <a:ext uri="{FF2B5EF4-FFF2-40B4-BE49-F238E27FC236}">
                <a16:creationId xmlns:a16="http://schemas.microsoft.com/office/drawing/2014/main" id="{014DC2A8-B6BC-7446-FD35-8F88FC259E3B}"/>
              </a:ext>
            </a:extLst>
          </p:cNvPr>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13" name="Slide Number Placeholder 12">
            <a:extLst>
              <a:ext uri="{FF2B5EF4-FFF2-40B4-BE49-F238E27FC236}">
                <a16:creationId xmlns:a16="http://schemas.microsoft.com/office/drawing/2014/main" id="{610B8742-C532-4276-A55B-E4E96C675DA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4" name="Date Placeholder 5">
            <a:extLst>
              <a:ext uri="{FF2B5EF4-FFF2-40B4-BE49-F238E27FC236}">
                <a16:creationId xmlns:a16="http://schemas.microsoft.com/office/drawing/2014/main" id="{419C077D-CEDB-E235-EA5F-F9C18FDF239E}"/>
              </a:ext>
            </a:extLst>
          </p:cNvPr>
          <p:cNvSpPr>
            <a:spLocks noGrp="1"/>
          </p:cNvSpPr>
          <p:nvPr>
            <p:ph type="dt" sz="half" idx="17"/>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pic>
        <p:nvPicPr>
          <p:cNvPr id="18" name="bjClassifierImageBottom">
            <a:extLst>
              <a:ext uri="{FF2B5EF4-FFF2-40B4-BE49-F238E27FC236}">
                <a16:creationId xmlns:a16="http://schemas.microsoft.com/office/drawing/2014/main" id="{2AF94379-9C0B-5014-2A7D-003B41513F7F}"/>
              </a:ext>
            </a:extLst>
          </p:cNvPr>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63500" y="6442075"/>
            <a:ext cx="1428750" cy="352425"/>
          </a:xfrm>
          <a:prstGeom prst="rect">
            <a:avLst/>
          </a:prstGeom>
        </p:spPr>
      </p:pic>
    </p:spTree>
    <p:extLst>
      <p:ext uri="{BB962C8B-B14F-4D97-AF65-F5344CB8AC3E}">
        <p14:creationId xmlns:p14="http://schemas.microsoft.com/office/powerpoint/2010/main" val="106427627"/>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End">
    <p:bg bwMode="ltGray">
      <p:bgPr>
        <a:solidFill>
          <a:schemeClr val="accent6"/>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sp>
        <p:nvSpPr>
          <p:cNvPr id="2" name="Title 1"/>
          <p:cNvSpPr>
            <a:spLocks noGrp="1"/>
          </p:cNvSpPr>
          <p:nvPr>
            <p:ph type="ctrTitle" hasCustomPrompt="1"/>
          </p:nvPr>
        </p:nvSpPr>
        <p:spPr bwMode="white">
          <a:xfrm>
            <a:off x="3898200" y="2930400"/>
            <a:ext cx="4395600" cy="900000"/>
          </a:xfrm>
          <a:noFill/>
        </p:spPr>
        <p:txBody>
          <a:bodyPr anchor="ctr" anchorCtr="0"/>
          <a:lstStyle>
            <a:lvl1pPr algn="ctr">
              <a:lnSpc>
                <a:spcPct val="95000"/>
              </a:lnSpc>
              <a:defRPr sz="5000" b="0">
                <a:solidFill>
                  <a:schemeClr val="accent3"/>
                </a:solidFill>
              </a:defRPr>
            </a:lvl1pPr>
          </a:lstStyle>
          <a:p>
            <a:r>
              <a:rPr lang="en-US"/>
              <a:t>Add Thank you</a:t>
            </a:r>
          </a:p>
        </p:txBody>
      </p:sp>
      <p:pic>
        <p:nvPicPr>
          <p:cNvPr id="5" name="Dynamic logo dark mint" descr="{&quot;templafy&quot;:{&quot;id&quot;:&quot;b328e3bd-3033-4ac4-8d31-ff404e3b029b&quot;}}">
            <a:extLst>
              <a:ext uri="{FF2B5EF4-FFF2-40B4-BE49-F238E27FC236}">
                <a16:creationId xmlns:a16="http://schemas.microsoft.com/office/drawing/2014/main" id="{82438F34-B5C2-725D-2038-DFDC70FBB0F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46677" y="5882399"/>
            <a:ext cx="2145868" cy="756094"/>
          </a:xfrm>
          <a:prstGeom prst="rect">
            <a:avLst/>
          </a:prstGeom>
        </p:spPr>
      </p:pic>
      <p:sp>
        <p:nvSpPr>
          <p:cNvPr id="8" name="Legal dynamic" descr="{&quot;templafy&quot;:{&quot;id&quot;:&quot;7bb2caf2-7451-4f65-99cd-7870a52bb471&quot;}}" title="Form.Cigna_Confidentiality.EvernorthConfidentiality">
            <a:extLst>
              <a:ext uri="{FF2B5EF4-FFF2-40B4-BE49-F238E27FC236}">
                <a16:creationId xmlns:a16="http://schemas.microsoft.com/office/drawing/2014/main" id="{78AD5F7B-3CAE-F9ED-8BE6-7441393ADD55}"/>
              </a:ext>
            </a:extLst>
          </p:cNvPr>
          <p:cNvSpPr/>
          <p:nvPr userDrawn="1"/>
        </p:nvSpPr>
        <p:spPr>
          <a:xfrm>
            <a:off x="5743574" y="5066753"/>
            <a:ext cx="4610027" cy="1481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All Evernorth Health Services products and services are provided exclusively by or through affiliates of the Evernorth companies, including Evernorth Care Solutions, Inc., Evernorth Behavioral Health, Inc., Evernorth Behavioral Health of Texas, Inc. and Evernorth Behavioral  Health of California, Inc. Some content provided under license. 
Confidential, unpublished property of Evernorth Health Services. Do not duplicate or distribute. Use and distribution limited solely to authorized personnel. © 2024 Evernorth Health Services.</a:t>
            </a:r>
          </a:p>
        </p:txBody>
      </p:sp>
      <p:sp>
        <p:nvSpPr>
          <p:cNvPr id="9" name="Internal Stamp dynamic" descr="{&quot;templafy&quot;:{&quot;id&quot;:&quot;d6a0a1f3-7c5e-4801-b5be-b8140fe14d75&quot;}}" title="Form.Cigna_Confidentiality.Cigna_confidentiality">
            <a:extLst>
              <a:ext uri="{FF2B5EF4-FFF2-40B4-BE49-F238E27FC236}">
                <a16:creationId xmlns:a16="http://schemas.microsoft.com/office/drawing/2014/main" id="{462870AB-B5F7-BEC2-AF95-80ACC467C177}"/>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sp>
        <p:nvSpPr>
          <p:cNvPr id="13" name="Slide Number Placeholder 12">
            <a:extLst>
              <a:ext uri="{FF2B5EF4-FFF2-40B4-BE49-F238E27FC236}">
                <a16:creationId xmlns:a16="http://schemas.microsoft.com/office/drawing/2014/main" id="{610B8742-C532-4276-A55B-E4E96C675DA4}"/>
              </a:ext>
            </a:extLst>
          </p:cNvPr>
          <p:cNvSpPr>
            <a:spLocks noGrp="1"/>
          </p:cNvSpPr>
          <p:nvPr>
            <p:ph type="sldNum" sz="quarter" idx="16"/>
          </p:nvPr>
        </p:nvSpPr>
        <p:spPr/>
        <p:txBody>
          <a:bodyPr/>
          <a:lstStyle>
            <a:lvl1pPr>
              <a:defRPr>
                <a:solidFill>
                  <a:schemeClr val="accent3"/>
                </a:solidFill>
              </a:defRPr>
            </a:lvl1pPr>
          </a:lstStyle>
          <a:p>
            <a:fld id="{23AA811B-2EBD-4900-905E-5BE206449611}" type="slidenum">
              <a:rPr lang="en-US" smtClean="0"/>
              <a:pPr/>
              <a:t>‹#›</a:t>
            </a:fld>
            <a:endParaRPr lang="en-US"/>
          </a:p>
        </p:txBody>
      </p:sp>
      <p:pic>
        <p:nvPicPr>
          <p:cNvPr id="4" name="Graphic 3">
            <a:extLst>
              <a:ext uri="{FF2B5EF4-FFF2-40B4-BE49-F238E27FC236}">
                <a16:creationId xmlns:a16="http://schemas.microsoft.com/office/drawing/2014/main" id="{70ACB2F9-8A56-CA3F-4216-ED04C64A1628}"/>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7" name="Date Placeholder 6">
            <a:extLst>
              <a:ext uri="{FF2B5EF4-FFF2-40B4-BE49-F238E27FC236}">
                <a16:creationId xmlns:a16="http://schemas.microsoft.com/office/drawing/2014/main" id="{C590F63D-0AB3-E3B4-2FF6-B23FE45E503D}"/>
              </a:ext>
            </a:extLst>
          </p:cNvPr>
          <p:cNvSpPr>
            <a:spLocks noGrp="1"/>
          </p:cNvSpPr>
          <p:nvPr>
            <p:ph type="dt" sz="half" idx="17"/>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4017188942"/>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BDDBD-B07A-2620-36E1-61E4A0AEF1DD}"/>
              </a:ext>
            </a:extLst>
          </p:cNvPr>
          <p:cNvSpPr>
            <a:spLocks noGrp="1"/>
          </p:cNvSpPr>
          <p:nvPr>
            <p:ph type="title" hasCustomPrompt="1"/>
          </p:nvPr>
        </p:nvSpPr>
        <p:spPr/>
        <p:txBody>
          <a:bodyPr/>
          <a:lstStyle/>
          <a:p>
            <a:r>
              <a:rPr lang="en-US" noProof="0"/>
              <a:t>Click to add title</a:t>
            </a:r>
            <a:endParaRPr lang="en-US"/>
          </a:p>
        </p:txBody>
      </p:sp>
      <p:sp>
        <p:nvSpPr>
          <p:cNvPr id="4" name="Slide Number Placeholder 3">
            <a:extLst>
              <a:ext uri="{FF2B5EF4-FFF2-40B4-BE49-F238E27FC236}">
                <a16:creationId xmlns:a16="http://schemas.microsoft.com/office/drawing/2014/main" id="{1C56A7DB-55EC-4ABA-995E-568DC946C507}"/>
              </a:ext>
            </a:extLst>
          </p:cNvPr>
          <p:cNvSpPr>
            <a:spLocks noGrp="1"/>
          </p:cNvSpPr>
          <p:nvPr>
            <p:ph type="sldNum" sz="quarter" idx="11"/>
          </p:nvPr>
        </p:nvSpPr>
        <p:spPr/>
        <p:txBody>
          <a:bodyPr/>
          <a:lstStyle/>
          <a:p>
            <a:fld id="{23AA811B-2EBD-4900-905E-5BE206449611}" type="slidenum">
              <a:rPr lang="en-US" smtClean="0"/>
              <a:pPr/>
              <a:t>‹#›</a:t>
            </a:fld>
            <a:endParaRPr lang="en-US"/>
          </a:p>
        </p:txBody>
      </p:sp>
      <p:sp>
        <p:nvSpPr>
          <p:cNvPr id="3" name="Date Placeholder 2">
            <a:extLst>
              <a:ext uri="{FF2B5EF4-FFF2-40B4-BE49-F238E27FC236}">
                <a16:creationId xmlns:a16="http://schemas.microsoft.com/office/drawing/2014/main" id="{103AC836-63B4-FF0E-E542-8F24674EF178}"/>
              </a:ext>
            </a:extLst>
          </p:cNvPr>
          <p:cNvSpPr>
            <a:spLocks noGrp="1"/>
          </p:cNvSpPr>
          <p:nvPr>
            <p:ph type="dt" sz="half" idx="12"/>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27880348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 Blank">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F52019DB-1E8C-EFB6-3D42-FF19B507F3D1}"/>
              </a:ext>
            </a:extLst>
          </p:cNvPr>
          <p:cNvSpPr>
            <a:spLocks noGrp="1" noRot="1" noMove="1" noResize="1" noEditPoints="1" noAdjustHandles="1" noChangeArrowheads="1" noChangeShapeType="1"/>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sp>
        <p:nvSpPr>
          <p:cNvPr id="5" name="Legal dynamic" descr="{&quot;templafy&quot;:{&quot;id&quot;:&quot;f16ce9f5-a03a-4d53-8c68-5e2ed6500bb7&quot;}}" title="Form.Cigna_Confidentiality.EvernorthConfidentiality">
            <a:extLst>
              <a:ext uri="{FF2B5EF4-FFF2-40B4-BE49-F238E27FC236}">
                <a16:creationId xmlns:a16="http://schemas.microsoft.com/office/drawing/2014/main" id="{6431C85B-4A42-ECBE-5FC4-39B9719CA2CE}"/>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7" name="Internal Stamp dynamic" descr="{&quot;templafy&quot;:{&quot;id&quot;:&quot;f03415c5-bc2a-4fe7-aada-9dd2b05a6f3d&quot;}}" title="Form.Cigna_Confidentiality.Cigna_confidentiality">
            <a:extLst>
              <a:ext uri="{FF2B5EF4-FFF2-40B4-BE49-F238E27FC236}">
                <a16:creationId xmlns:a16="http://schemas.microsoft.com/office/drawing/2014/main" id="{A541D4FE-AEAF-74DF-BC0E-47D4D2C190AF}"/>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sp>
        <p:nvSpPr>
          <p:cNvPr id="14" name="Slide Number Placeholder 13">
            <a:extLst>
              <a:ext uri="{FF2B5EF4-FFF2-40B4-BE49-F238E27FC236}">
                <a16:creationId xmlns:a16="http://schemas.microsoft.com/office/drawing/2014/main" id="{970C8A1F-6FD5-D539-712A-8F23F646E477}"/>
              </a:ext>
            </a:extLst>
          </p:cNvPr>
          <p:cNvSpPr>
            <a:spLocks noGrp="1"/>
          </p:cNvSpPr>
          <p:nvPr>
            <p:ph type="sldNum" sz="quarter" idx="11"/>
          </p:nvPr>
        </p:nvSpPr>
        <p:spPr/>
        <p:txBody>
          <a:bodyPr/>
          <a:lstStyle/>
          <a:p>
            <a:fld id="{23AA811B-2EBD-4900-905E-5BE206449611}" type="slidenum">
              <a:rPr lang="en-US" smtClean="0"/>
              <a:pPr/>
              <a:t>‹#›</a:t>
            </a:fld>
            <a:endParaRPr lang="en-US"/>
          </a:p>
        </p:txBody>
      </p:sp>
      <p:sp>
        <p:nvSpPr>
          <p:cNvPr id="3" name="Date Placeholder 2">
            <a:extLst>
              <a:ext uri="{FF2B5EF4-FFF2-40B4-BE49-F238E27FC236}">
                <a16:creationId xmlns:a16="http://schemas.microsoft.com/office/drawing/2014/main" id="{8E2FD771-F12D-346D-DE79-A182031F6781}"/>
              </a:ext>
            </a:extLst>
          </p:cNvPr>
          <p:cNvSpPr>
            <a:spLocks noGrp="1"/>
          </p:cNvSpPr>
          <p:nvPr>
            <p:ph type="dt" sz="half" idx="12"/>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4081779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 Blank">
    <p:bg bwMode="ltGray">
      <p:bgPr>
        <a:solidFill>
          <a:schemeClr val="accent3"/>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rgbClr val="035C6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sp>
        <p:nvSpPr>
          <p:cNvPr id="2" name="Legal dynamic" descr="{&quot;templafy&quot;:{&quot;id&quot;:&quot;fb8ad65d-ca55-40b9-bd17-c2bbdb2ad7e5&quot;}}" title="Form.Cigna_Confidentiality.EvernorthConfidentiality">
            <a:extLst>
              <a:ext uri="{FF2B5EF4-FFF2-40B4-BE49-F238E27FC236}">
                <a16:creationId xmlns:a16="http://schemas.microsoft.com/office/drawing/2014/main" id="{64F1B370-1C1D-7834-E816-101409DF91A4}"/>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3" name="Internal Stamp dynamic" descr="{&quot;templafy&quot;:{&quot;id&quot;:&quot;0a956267-0533-477a-95d7-c8e6ed8628e9&quot;}}" title="Form.Cigna_Confidentiality.Cigna_confidentiality">
            <a:extLst>
              <a:ext uri="{FF2B5EF4-FFF2-40B4-BE49-F238E27FC236}">
                <a16:creationId xmlns:a16="http://schemas.microsoft.com/office/drawing/2014/main" id="{D14BFB4E-09FF-82D9-3F91-E448C5777535}"/>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sp>
        <p:nvSpPr>
          <p:cNvPr id="11" name="Slide Number Placeholder 10">
            <a:extLst>
              <a:ext uri="{FF2B5EF4-FFF2-40B4-BE49-F238E27FC236}">
                <a16:creationId xmlns:a16="http://schemas.microsoft.com/office/drawing/2014/main" id="{B4AED688-8F27-02D7-CAE6-1429C8761AF1}"/>
              </a:ext>
            </a:extLst>
          </p:cNvPr>
          <p:cNvSpPr>
            <a:spLocks noGrp="1"/>
          </p:cNvSpPr>
          <p:nvPr>
            <p:ph type="sldNum" sz="quarter" idx="11"/>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4" name="Date Placeholder 2">
            <a:extLst>
              <a:ext uri="{FF2B5EF4-FFF2-40B4-BE49-F238E27FC236}">
                <a16:creationId xmlns:a16="http://schemas.microsoft.com/office/drawing/2014/main" id="{1C4B3A88-4276-4536-FE75-6C29B89DC43F}"/>
              </a:ext>
            </a:extLst>
          </p:cNvPr>
          <p:cNvSpPr>
            <a:spLocks noGrp="1"/>
          </p:cNvSpPr>
          <p:nvPr>
            <p:ph type="dt" sz="half" idx="12"/>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64502976"/>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 Blank">
    <p:bg bwMode="ltGray">
      <p:bgPr>
        <a:solidFill>
          <a:schemeClr val="accent3"/>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rgbClr val="008F8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sp>
        <p:nvSpPr>
          <p:cNvPr id="2" name="Legal dynamic" descr="{&quot;templafy&quot;:{&quot;id&quot;:&quot;08407e9c-9ebb-4360-b431-01de1003a4bf&quot;}}" title="Form.Cigna_Confidentiality.EvernorthConfidentiality">
            <a:extLst>
              <a:ext uri="{FF2B5EF4-FFF2-40B4-BE49-F238E27FC236}">
                <a16:creationId xmlns:a16="http://schemas.microsoft.com/office/drawing/2014/main" id="{C06626AA-E4D6-5FDF-EB11-0013A3DB9024}"/>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3" name="Internal Stamp dynamic" descr="{&quot;templafy&quot;:{&quot;id&quot;:&quot;95dad55a-076d-4eaf-9147-14cee2fd9b76&quot;}}" title="Form.Cigna_Confidentiality.Cigna_confidentiality">
            <a:extLst>
              <a:ext uri="{FF2B5EF4-FFF2-40B4-BE49-F238E27FC236}">
                <a16:creationId xmlns:a16="http://schemas.microsoft.com/office/drawing/2014/main" id="{7E4A112F-BAED-5AD7-3B6E-0F91FBB6A4D7}"/>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sp>
        <p:nvSpPr>
          <p:cNvPr id="13" name="Slide Number Placeholder 12">
            <a:extLst>
              <a:ext uri="{FF2B5EF4-FFF2-40B4-BE49-F238E27FC236}">
                <a16:creationId xmlns:a16="http://schemas.microsoft.com/office/drawing/2014/main" id="{610B8742-C532-4276-A55B-E4E96C675DA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4" name="Date Placeholder 2">
            <a:extLst>
              <a:ext uri="{FF2B5EF4-FFF2-40B4-BE49-F238E27FC236}">
                <a16:creationId xmlns:a16="http://schemas.microsoft.com/office/drawing/2014/main" id="{A124312C-8EA6-0108-54C7-08E13BCCB0D8}"/>
              </a:ext>
            </a:extLst>
          </p:cNvPr>
          <p:cNvSpPr>
            <a:spLocks noGrp="1"/>
          </p:cNvSpPr>
          <p:nvPr>
            <p:ph type="dt" sz="half" idx="12"/>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2736784208"/>
      </p:ext>
    </p:extLst>
  </p:cSld>
  <p:clrMapOvr>
    <a:overrideClrMapping bg1="dk1" tx1="lt1" bg2="dk2" tx2="lt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 Blank">
    <p:bg bwMode="ltGray">
      <p:bgPr>
        <a:solidFill>
          <a:schemeClr val="accent3"/>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rgbClr val="002F3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sp>
        <p:nvSpPr>
          <p:cNvPr id="2" name="Legal dynamic" descr="{&quot;templafy&quot;:{&quot;id&quot;:&quot;9029e0b6-7fad-4ac3-9263-db6eb4f18252&quot;}}" title="Form.Cigna_Confidentiality.EvernorthConfidentiality">
            <a:extLst>
              <a:ext uri="{FF2B5EF4-FFF2-40B4-BE49-F238E27FC236}">
                <a16:creationId xmlns:a16="http://schemas.microsoft.com/office/drawing/2014/main" id="{54BC2A34-4216-AF62-7DB9-7858E091BEA4}"/>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chemeClr val="tx2"/>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3" name="Internal Stamp dynamic" descr="{&quot;templafy&quot;:{&quot;id&quot;:&quot;2065aa7c-d155-4540-b292-45963adc5c94&quot;}}" title="Form.Cigna_Confidentiality.Cigna_confidentiality">
            <a:extLst>
              <a:ext uri="{FF2B5EF4-FFF2-40B4-BE49-F238E27FC236}">
                <a16:creationId xmlns:a16="http://schemas.microsoft.com/office/drawing/2014/main" id="{C5F2B537-E38D-68A0-D83D-5AC70C0773A6}"/>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chemeClr val="tx2"/>
                </a:solidFill>
                <a:effectLst/>
                <a:latin typeface="Arial Narrow" panose="020B0604020202020204" pitchFamily="34" charset="0"/>
                <a:ea typeface="+mn-ea"/>
                <a:cs typeface="+mn-cs"/>
              </a:rPr>
              <a:t>For internal use only. Use and distribution limited solely to authorized personnel.</a:t>
            </a:r>
          </a:p>
        </p:txBody>
      </p:sp>
      <p:sp>
        <p:nvSpPr>
          <p:cNvPr id="13" name="Slide Number Placeholder 12">
            <a:extLst>
              <a:ext uri="{FF2B5EF4-FFF2-40B4-BE49-F238E27FC236}">
                <a16:creationId xmlns:a16="http://schemas.microsoft.com/office/drawing/2014/main" id="{610B8742-C532-4276-A55B-E4E96C675DA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US" smtClean="0"/>
              <a:pPr/>
              <a:t>‹#›</a:t>
            </a:fld>
            <a:endParaRPr lang="en-US"/>
          </a:p>
        </p:txBody>
      </p:sp>
      <p:sp>
        <p:nvSpPr>
          <p:cNvPr id="4" name="Date Placeholder 2">
            <a:extLst>
              <a:ext uri="{FF2B5EF4-FFF2-40B4-BE49-F238E27FC236}">
                <a16:creationId xmlns:a16="http://schemas.microsoft.com/office/drawing/2014/main" id="{1B6BA69B-6BAD-3F5F-A1D8-89DC1111DA66}"/>
              </a:ext>
            </a:extLst>
          </p:cNvPr>
          <p:cNvSpPr>
            <a:spLocks noGrp="1"/>
          </p:cNvSpPr>
          <p:nvPr>
            <p:ph type="dt" sz="half" idx="12"/>
          </p:nvPr>
        </p:nvSpPr>
        <p:spPr>
          <a:xfrm>
            <a:off x="10630800" y="6364800"/>
            <a:ext cx="691200" cy="180000"/>
          </a:xfrm>
        </p:spPr>
        <p:txBody>
          <a:bodyPr/>
          <a:lstStyle>
            <a:lvl1pPr>
              <a:defRPr>
                <a:solidFill>
                  <a:schemeClr val="tx2"/>
                </a:solidFill>
              </a:defRPr>
            </a:lvl1pPr>
          </a:lstStyle>
          <a:p>
            <a:fld id="{B118041E-2DAD-480C-AEE4-E661A097CFE4}" type="datetime1">
              <a:rPr lang="en-US" smtClean="0"/>
              <a:pPr/>
              <a:t>5/12/2026</a:t>
            </a:fld>
            <a:endParaRPr lang="en-US"/>
          </a:p>
        </p:txBody>
      </p:sp>
    </p:spTree>
    <p:extLst>
      <p:ext uri="{BB962C8B-B14F-4D97-AF65-F5344CB8AC3E}">
        <p14:creationId xmlns:p14="http://schemas.microsoft.com/office/powerpoint/2010/main" val="419879888"/>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 Blank">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F52019DB-1E8C-EFB6-3D42-FF19B507F3D1}"/>
              </a:ext>
            </a:extLst>
          </p:cNvPr>
          <p:cNvSpPr>
            <a:spLocks noGrp="1" noRot="1" noMove="1" noResize="1" noEditPoints="1" noAdjustHandles="1" noChangeArrowheads="1" noChangeShapeType="1"/>
          </p:cNvSpPr>
          <p:nvPr userDrawn="1"/>
        </p:nvSpPr>
        <p:spPr bwMode="white">
          <a:xfrm>
            <a:off x="0" y="0"/>
            <a:ext cx="121932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sp>
        <p:nvSpPr>
          <p:cNvPr id="5" name="Legal dynamic" descr="{&quot;templafy&quot;:{&quot;id&quot;:&quot;40e3d94b-ff4b-4fc4-9554-02893914e15a&quot;}}" title="Form.Cigna_Confidentiality.EvernorthConfidentiality">
            <a:extLst>
              <a:ext uri="{FF2B5EF4-FFF2-40B4-BE49-F238E27FC236}">
                <a16:creationId xmlns:a16="http://schemas.microsoft.com/office/drawing/2014/main" id="{BAEDF20C-6EA9-EB52-4601-B521FC0AFA37}"/>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7" name="Internal Stamp dynamic" descr="{&quot;templafy&quot;:{&quot;id&quot;:&quot;3d981c20-6e83-4fbe-a809-40ab00a3ff9c&quot;}}" title="Form.Cigna_Confidentiality.Cigna_confidentiality">
            <a:extLst>
              <a:ext uri="{FF2B5EF4-FFF2-40B4-BE49-F238E27FC236}">
                <a16:creationId xmlns:a16="http://schemas.microsoft.com/office/drawing/2014/main" id="{34E0B8E7-6496-9BE5-8C21-A48194FBC053}"/>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sp>
        <p:nvSpPr>
          <p:cNvPr id="4" name="Slide Number Placeholder 3">
            <a:extLst>
              <a:ext uri="{FF2B5EF4-FFF2-40B4-BE49-F238E27FC236}">
                <a16:creationId xmlns:a16="http://schemas.microsoft.com/office/drawing/2014/main" id="{F09CF017-65A3-70EC-6870-87DC791EDF8F}"/>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6" name="Date Placeholder 2">
            <a:extLst>
              <a:ext uri="{FF2B5EF4-FFF2-40B4-BE49-F238E27FC236}">
                <a16:creationId xmlns:a16="http://schemas.microsoft.com/office/drawing/2014/main" id="{FA24F608-D13D-3A02-2E2D-7481E02D3050}"/>
              </a:ext>
            </a:extLst>
          </p:cNvPr>
          <p:cNvSpPr>
            <a:spLocks noGrp="1"/>
          </p:cNvSpPr>
          <p:nvPr>
            <p:ph type="dt" sz="half" idx="12"/>
          </p:nvPr>
        </p:nvSpPr>
        <p:spPr>
          <a:xfrm>
            <a:off x="10630800" y="6364800"/>
            <a:ext cx="691200" cy="180000"/>
          </a:xfrm>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28334447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 Cover and Image">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9E6FAF1-D120-4172-AE29-B3271FE51748}"/>
              </a:ext>
            </a:extLst>
          </p:cNvPr>
          <p:cNvSpPr>
            <a:spLocks noGrp="1" noRot="1" noMove="1" noResize="1" noEditPoints="1" noAdjustHandles="1" noChangeArrowheads="1" noChangeShapeType="1"/>
          </p:cNvSpPr>
          <p:nvPr userDrawn="1"/>
        </p:nvSpPr>
        <p:spPr bwMode="white">
          <a:xfrm>
            <a:off x="0" y="0"/>
            <a:ext cx="12193200" cy="588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solidFill>
                <a:schemeClr val="tx1"/>
              </a:solidFill>
            </a:endParaRPr>
          </a:p>
        </p:txBody>
      </p:sp>
      <p:sp>
        <p:nvSpPr>
          <p:cNvPr id="3" name="Picture Placeholder 6">
            <a:extLst>
              <a:ext uri="{FF2B5EF4-FFF2-40B4-BE49-F238E27FC236}">
                <a16:creationId xmlns:a16="http://schemas.microsoft.com/office/drawing/2014/main" id="{5F9461B2-F010-A81E-D90F-6D4C8065889A}"/>
              </a:ext>
            </a:extLst>
          </p:cNvPr>
          <p:cNvSpPr>
            <a:spLocks noGrp="1"/>
          </p:cNvSpPr>
          <p:nvPr>
            <p:ph type="pic" sz="quarter" idx="16"/>
          </p:nvPr>
        </p:nvSpPr>
        <p:spPr>
          <a:xfrm>
            <a:off x="5690403" y="2"/>
            <a:ext cx="6501219" cy="5882398"/>
          </a:xfrm>
          <a:custGeom>
            <a:avLst/>
            <a:gdLst>
              <a:gd name="connsiteX0" fmla="*/ 4452578 w 6501219"/>
              <a:gd name="connsiteY0" fmla="*/ 0 h 5882398"/>
              <a:gd name="connsiteX1" fmla="*/ 6501219 w 6501219"/>
              <a:gd name="connsiteY1" fmla="*/ 0 h 5882398"/>
              <a:gd name="connsiteX2" fmla="*/ 6501219 w 6501219"/>
              <a:gd name="connsiteY2" fmla="*/ 5882398 h 5882398"/>
              <a:gd name="connsiteX3" fmla="*/ 0 w 6501219"/>
              <a:gd name="connsiteY3" fmla="*/ 5882398 h 5882398"/>
              <a:gd name="connsiteX4" fmla="*/ 0 w 6501219"/>
              <a:gd name="connsiteY4" fmla="*/ 4449965 h 5882398"/>
              <a:gd name="connsiteX5" fmla="*/ 3693 w 6501219"/>
              <a:gd name="connsiteY5" fmla="*/ 4376844 h 5882398"/>
              <a:gd name="connsiteX6" fmla="*/ 742025 w 6501219"/>
              <a:gd name="connsiteY6" fmla="*/ 3710572 h 5882398"/>
              <a:gd name="connsiteX7" fmla="*/ 3153904 w 6501219"/>
              <a:gd name="connsiteY7" fmla="*/ 3710572 h 5882398"/>
              <a:gd name="connsiteX8" fmla="*/ 3710432 w 6501219"/>
              <a:gd name="connsiteY8" fmla="*/ 3154043 h 5882398"/>
              <a:gd name="connsiteX9" fmla="*/ 3710432 w 6501219"/>
              <a:gd name="connsiteY9" fmla="*/ 742164 h 5882398"/>
              <a:gd name="connsiteX10" fmla="*/ 4376726 w 6501219"/>
              <a:gd name="connsiteY10" fmla="*/ 3830 h 588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01219" h="5882398">
                <a:moveTo>
                  <a:pt x="4452578" y="0"/>
                </a:moveTo>
                <a:lnTo>
                  <a:pt x="6501219" y="0"/>
                </a:lnTo>
                <a:lnTo>
                  <a:pt x="6501219" y="5882398"/>
                </a:lnTo>
                <a:lnTo>
                  <a:pt x="0" y="5882398"/>
                </a:lnTo>
                <a:lnTo>
                  <a:pt x="0" y="4449965"/>
                </a:lnTo>
                <a:lnTo>
                  <a:pt x="3693" y="4376844"/>
                </a:lnTo>
                <a:cubicBezTo>
                  <a:pt x="41705" y="4002555"/>
                  <a:pt x="357813" y="3710572"/>
                  <a:pt x="742025" y="3710572"/>
                </a:cubicBezTo>
                <a:lnTo>
                  <a:pt x="3153904" y="3710572"/>
                </a:lnTo>
                <a:cubicBezTo>
                  <a:pt x="3461178" y="3710572"/>
                  <a:pt x="3710432" y="3461444"/>
                  <a:pt x="3710432" y="3154043"/>
                </a:cubicBezTo>
                <a:lnTo>
                  <a:pt x="3710432" y="742164"/>
                </a:lnTo>
                <a:cubicBezTo>
                  <a:pt x="3710432" y="357833"/>
                  <a:pt x="4002528" y="41829"/>
                  <a:pt x="4376726" y="3830"/>
                </a:cubicBezTo>
                <a:close/>
              </a:path>
            </a:pathLst>
          </a:custGeom>
          <a:solidFill>
            <a:schemeClr val="bg1">
              <a:lumMod val="85000"/>
            </a:schemeClr>
          </a:solidFill>
        </p:spPr>
        <p:txBody>
          <a:bodyPr wrap="square" lIns="3060000" anchor="ctr" anchorCtr="0">
            <a:noAutofit/>
          </a:bodyPr>
          <a:lstStyle>
            <a:lvl1pPr marL="0" indent="0" algn="ctr">
              <a:buNone/>
              <a:defRPr>
                <a:solidFill>
                  <a:schemeClr val="tx1"/>
                </a:solidFill>
              </a:defRPr>
            </a:lvl1pPr>
          </a:lstStyle>
          <a:p>
            <a:r>
              <a:rPr lang="en-US"/>
              <a:t>Click icon to add picture</a:t>
            </a:r>
          </a:p>
        </p:txBody>
      </p:sp>
      <p:sp>
        <p:nvSpPr>
          <p:cNvPr id="2" name="Title 1"/>
          <p:cNvSpPr>
            <a:spLocks noGrp="1"/>
          </p:cNvSpPr>
          <p:nvPr>
            <p:ph type="ctrTitle" hasCustomPrompt="1"/>
          </p:nvPr>
        </p:nvSpPr>
        <p:spPr>
          <a:xfrm>
            <a:off x="360000" y="1454400"/>
            <a:ext cx="4856400" cy="1820862"/>
          </a:xfrm>
          <a:noFill/>
        </p:spPr>
        <p:txBody>
          <a:bodyPr anchor="b" anchorCtr="0"/>
          <a:lstStyle>
            <a:lvl1pPr algn="l">
              <a:lnSpc>
                <a:spcPct val="85000"/>
              </a:lnSpc>
              <a:defRPr sz="6000" b="0">
                <a:solidFill>
                  <a:srgbClr val="035C67"/>
                </a:solidFill>
              </a:defRPr>
            </a:lvl1pPr>
          </a:lstStyle>
          <a:p>
            <a:r>
              <a:rPr lang="en-US"/>
              <a:t>Click to add title</a:t>
            </a:r>
          </a:p>
        </p:txBody>
      </p:sp>
      <p:sp>
        <p:nvSpPr>
          <p:cNvPr id="11" name="Text Placeholder 4">
            <a:extLst>
              <a:ext uri="{FF2B5EF4-FFF2-40B4-BE49-F238E27FC236}">
                <a16:creationId xmlns:a16="http://schemas.microsoft.com/office/drawing/2014/main" id="{C70809C9-BA48-4A28-B8CF-92FA8B271372}"/>
              </a:ext>
            </a:extLst>
          </p:cNvPr>
          <p:cNvSpPr>
            <a:spLocks noGrp="1"/>
          </p:cNvSpPr>
          <p:nvPr>
            <p:ph type="body" sz="quarter" idx="13" hasCustomPrompt="1"/>
          </p:nvPr>
        </p:nvSpPr>
        <p:spPr>
          <a:xfrm>
            <a:off x="360000" y="3654000"/>
            <a:ext cx="4856400" cy="2094338"/>
          </a:xfrm>
        </p:spPr>
        <p:txBody>
          <a:bodyPr/>
          <a:lstStyle>
            <a:lvl1pPr marL="0" indent="0">
              <a:lnSpc>
                <a:spcPct val="105000"/>
              </a:lnSpc>
              <a:buNone/>
              <a:defRPr sz="2200">
                <a:solidFill>
                  <a:srgbClr val="002F3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ubtitle</a:t>
            </a:r>
          </a:p>
        </p:txBody>
      </p:sp>
      <p:sp>
        <p:nvSpPr>
          <p:cNvPr id="9" name="Slide Number Placeholder 8">
            <a:extLst>
              <a:ext uri="{FF2B5EF4-FFF2-40B4-BE49-F238E27FC236}">
                <a16:creationId xmlns:a16="http://schemas.microsoft.com/office/drawing/2014/main" id="{24DB0E35-25B5-40AF-1E8E-5A5AD8271CF7}"/>
              </a:ext>
            </a:extLst>
          </p:cNvPr>
          <p:cNvSpPr>
            <a:spLocks noGrp="1"/>
          </p:cNvSpPr>
          <p:nvPr>
            <p:ph type="sldNum" sz="quarter" idx="15"/>
          </p:nvPr>
        </p:nvSpPr>
        <p:spPr/>
        <p:txBody>
          <a:bodyPr/>
          <a:lstStyle/>
          <a:p>
            <a:fld id="{23AA811B-2EBD-4900-905E-5BE206449611}" type="slidenum">
              <a:rPr lang="en-US" smtClean="0"/>
              <a:pPr/>
              <a:t>‹#›</a:t>
            </a:fld>
            <a:endParaRPr lang="en-US"/>
          </a:p>
        </p:txBody>
      </p:sp>
      <p:sp>
        <p:nvSpPr>
          <p:cNvPr id="4" name="Date Placeholder 3">
            <a:extLst>
              <a:ext uri="{FF2B5EF4-FFF2-40B4-BE49-F238E27FC236}">
                <a16:creationId xmlns:a16="http://schemas.microsoft.com/office/drawing/2014/main" id="{C1DC1721-C3E1-DCC7-2BB6-EDE22C80929A}"/>
              </a:ext>
            </a:extLst>
          </p:cNvPr>
          <p:cNvSpPr>
            <a:spLocks noGrp="1"/>
          </p:cNvSpPr>
          <p:nvPr>
            <p:ph type="dt" sz="half" idx="17"/>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3183007091"/>
      </p:ext>
    </p:extLst>
  </p:cSld>
  <p:clrMapOvr>
    <a:masterClrMapping/>
  </p:clrMapOvr>
  <p:extLst>
    <p:ext uri="{DCECCB84-F9BA-43D5-87BE-67443E8EF086}">
      <p15:sldGuideLst xmlns:p15="http://schemas.microsoft.com/office/powerpoint/2012/main">
        <p15:guide id="1" orient="horz" pos="2300">
          <p15:clr>
            <a:srgbClr val="F26B43"/>
          </p15:clr>
        </p15:guide>
        <p15:guide id="2" orient="horz" pos="2064">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sp>
        <p:nvSpPr>
          <p:cNvPr id="65" name="Fast overskrift">
            <a:extLst>
              <a:ext uri="{FF2B5EF4-FFF2-40B4-BE49-F238E27FC236}">
                <a16:creationId xmlns:a16="http://schemas.microsoft.com/office/drawing/2014/main" id="{09C05D50-8477-4113-8B72-9C373B0FF9F9}"/>
              </a:ext>
            </a:extLst>
          </p:cNvPr>
          <p:cNvSpPr txBox="1">
            <a:spLocks noGrp="1" noRot="1" noMove="1" noResize="1" noEditPoints="1" noAdjustHandles="1" noChangeArrowheads="1" noChangeShapeType="1"/>
          </p:cNvSpPr>
          <p:nvPr userDrawn="1"/>
        </p:nvSpPr>
        <p:spPr>
          <a:xfrm>
            <a:off x="358775" y="358775"/>
            <a:ext cx="11109321" cy="650171"/>
          </a:xfrm>
          <a:prstGeom prst="rect">
            <a:avLst/>
          </a:prstGeom>
          <a:noFill/>
        </p:spPr>
        <p:txBody>
          <a:bodyPr wrap="square" lIns="0" tIns="0" rIns="0" bIns="0" rtlCol="0" anchor="t" anchorCtr="0">
            <a:noAutofit/>
          </a:bodyPr>
          <a:lstStyle/>
          <a:p>
            <a:r>
              <a:rPr lang="en-US" sz="2800" b="1" noProof="1">
                <a:solidFill>
                  <a:schemeClr val="accent3"/>
                </a:solidFill>
                <a:latin typeface="+mj-lt"/>
                <a:cs typeface="Arial" panose="020B0604020202020204" pitchFamily="34" charset="0"/>
              </a:rPr>
              <a:t>User Guide</a:t>
            </a:r>
            <a:endParaRPr lang="en-US" sz="1600" b="1">
              <a:solidFill>
                <a:schemeClr val="accent3"/>
              </a:solidFill>
            </a:endParaRPr>
          </a:p>
        </p:txBody>
      </p:sp>
      <p:sp>
        <p:nvSpPr>
          <p:cNvPr id="2" name="Text Box 3">
            <a:extLst>
              <a:ext uri="{FF2B5EF4-FFF2-40B4-BE49-F238E27FC236}">
                <a16:creationId xmlns:a16="http://schemas.microsoft.com/office/drawing/2014/main" id="{868E0E0B-277E-AD33-81A6-6FD87897E870}"/>
              </a:ext>
            </a:extLst>
          </p:cNvPr>
          <p:cNvSpPr txBox="1">
            <a:spLocks noChangeArrowheads="1"/>
          </p:cNvSpPr>
          <p:nvPr userDrawn="1"/>
        </p:nvSpPr>
        <p:spPr bwMode="auto">
          <a:xfrm>
            <a:off x="4255684" y="1095538"/>
            <a:ext cx="2716548"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a:solidFill>
                  <a:schemeClr val="accent4"/>
                </a:solidFill>
                <a:latin typeface="+mn-lt"/>
                <a:cs typeface="Arial" panose="020B0604020202020204" pitchFamily="34" charset="0"/>
              </a:rPr>
              <a:t>PICTURES</a:t>
            </a:r>
            <a:br>
              <a:rPr lang="en-US" sz="1600">
                <a:solidFill>
                  <a:schemeClr val="accent4"/>
                </a:solidFill>
                <a:latin typeface="+mn-lt"/>
                <a:cs typeface="Arial" panose="020B0604020202020204" pitchFamily="34" charset="0"/>
              </a:rPr>
            </a:br>
            <a:br>
              <a:rPr lang="en-US" sz="900">
                <a:solidFill>
                  <a:schemeClr val="accent4"/>
                </a:solidFill>
                <a:latin typeface="+mn-lt"/>
                <a:cs typeface="Arial" panose="020B0604020202020204" pitchFamily="34" charset="0"/>
              </a:rPr>
            </a:br>
            <a:r>
              <a:rPr lang="en-US" altLang="da-DK" sz="900" b="1" baseline="0" noProof="1">
                <a:solidFill>
                  <a:schemeClr val="accent4"/>
                </a:solidFill>
                <a:latin typeface="+mn-lt"/>
                <a:cs typeface="Arial" panose="020B0604020202020204" pitchFamily="34" charset="0"/>
              </a:rPr>
              <a:t>ADD PICTURE</a:t>
            </a:r>
            <a:endParaRPr lang="en-US">
              <a:solidFill>
                <a:schemeClr val="accent4"/>
              </a:solidFill>
            </a:endParaRPr>
          </a:p>
          <a:p>
            <a:pPr eaLnBrk="1" hangingPunct="1">
              <a:spcAft>
                <a:spcPts val="600"/>
              </a:spcAft>
              <a:defRPr/>
            </a:pPr>
            <a:r>
              <a:rPr lang="en-US" altLang="da-DK" sz="900" b="0" noProof="1">
                <a:solidFill>
                  <a:schemeClr val="accent4"/>
                </a:solidFill>
                <a:latin typeface="+mn-lt"/>
                <a:cs typeface="Arial" panose="020B0604020202020204" pitchFamily="34" charset="0"/>
              </a:rPr>
              <a:t>On slides with pictureplaceholder, click on the icon and choose </a:t>
            </a:r>
            <a:r>
              <a:rPr lang="en-US" altLang="da-DK" sz="900" b="1" noProof="1">
                <a:solidFill>
                  <a:schemeClr val="accent4"/>
                </a:solidFill>
                <a:latin typeface="+mn-lt"/>
                <a:cs typeface="Arial" panose="020B0604020202020204" pitchFamily="34" charset="0"/>
              </a:rPr>
              <a:t>Insert</a:t>
            </a:r>
            <a:endParaRPr lang="en-US">
              <a:solidFill>
                <a:schemeClr val="accent4"/>
              </a:solidFill>
            </a:endParaRPr>
          </a:p>
          <a:p>
            <a:pPr eaLnBrk="1" hangingPunct="1">
              <a:spcBef>
                <a:spcPts val="1200"/>
              </a:spcBef>
              <a:spcAft>
                <a:spcPts val="600"/>
              </a:spcAft>
              <a:defRPr/>
            </a:pPr>
            <a:r>
              <a:rPr lang="en-US" sz="900" b="1" noProof="1">
                <a:solidFill>
                  <a:schemeClr val="accent4"/>
                </a:solidFill>
                <a:latin typeface="+mn-lt"/>
                <a:cs typeface="Arial" panose="020B0604020202020204" pitchFamily="34" charset="0"/>
              </a:rPr>
              <a:t>Crop picture</a:t>
            </a:r>
            <a:endParaRPr lang="en-US">
              <a:solidFill>
                <a:schemeClr val="accent4"/>
              </a:solidFill>
            </a:endParaRPr>
          </a:p>
          <a:p>
            <a:pPr eaLnBrk="1" hangingPunct="1">
              <a:spcAft>
                <a:spcPts val="600"/>
              </a:spcAft>
              <a:defRPr/>
            </a:pPr>
            <a:r>
              <a:rPr lang="en-US" altLang="da-DK" sz="900" b="1" noProof="1">
                <a:solidFill>
                  <a:schemeClr val="accent4"/>
                </a:solidFill>
                <a:latin typeface="+mn-lt"/>
                <a:cs typeface="Arial" panose="020B0604020202020204" pitchFamily="34" charset="0"/>
              </a:rPr>
              <a:t>1. </a:t>
            </a:r>
            <a:r>
              <a:rPr lang="en-US" altLang="da-DK" sz="900" b="0" noProof="1">
                <a:solidFill>
                  <a:schemeClr val="accent4"/>
                </a:solidFill>
                <a:latin typeface="+mn-lt"/>
                <a:cs typeface="Arial" panose="020B0604020202020204" pitchFamily="34" charset="0"/>
              </a:rPr>
              <a:t>Click </a:t>
            </a:r>
            <a:r>
              <a:rPr lang="en-US" altLang="da-DK" sz="900" b="1" noProof="1">
                <a:solidFill>
                  <a:schemeClr val="accent4"/>
                </a:solidFill>
                <a:latin typeface="+mn-lt"/>
                <a:cs typeface="Arial" panose="020B0604020202020204" pitchFamily="34" charset="0"/>
              </a:rPr>
              <a:t>Crop</a:t>
            </a:r>
            <a:r>
              <a:rPr lang="en-US" altLang="da-DK" sz="900" b="0" noProof="1">
                <a:solidFill>
                  <a:schemeClr val="accent4"/>
                </a:solidFill>
                <a:latin typeface="+mn-lt"/>
                <a:cs typeface="Arial" panose="020B0604020202020204" pitchFamily="34" charset="0"/>
              </a:rPr>
              <a:t> to change size or focus of the picture</a:t>
            </a:r>
            <a:endParaRPr lang="en-US">
              <a:solidFill>
                <a:schemeClr val="accent4"/>
              </a:solidFill>
            </a:endParaRPr>
          </a:p>
          <a:p>
            <a:pPr eaLnBrk="1" hangingPunct="1">
              <a:spcAft>
                <a:spcPts val="600"/>
              </a:spcAft>
              <a:defRPr/>
            </a:pPr>
            <a:r>
              <a:rPr lang="en-US" altLang="da-DK" sz="900" b="1" noProof="1">
                <a:solidFill>
                  <a:schemeClr val="accent4"/>
                </a:solidFill>
                <a:latin typeface="+mn-lt"/>
                <a:cs typeface="Arial" panose="020B0604020202020204" pitchFamily="34" charset="0"/>
              </a:rPr>
              <a:t>2. </a:t>
            </a:r>
            <a:r>
              <a:rPr lang="en-US" altLang="da-DK" sz="900" b="0" noProof="1">
                <a:solidFill>
                  <a:schemeClr val="accent4"/>
                </a:solidFill>
                <a:latin typeface="+mn-lt"/>
                <a:cs typeface="Arial" panose="020B0604020202020204" pitchFamily="34" charset="0"/>
              </a:rPr>
              <a:t>If you want to scale the picture, hold </a:t>
            </a:r>
            <a:r>
              <a:rPr lang="en-US" altLang="da-DK" sz="900" b="1" noProof="1">
                <a:solidFill>
                  <a:schemeClr val="accent4"/>
                </a:solidFill>
                <a:latin typeface="+mn-lt"/>
                <a:cs typeface="Arial" panose="020B0604020202020204" pitchFamily="34" charset="0"/>
              </a:rPr>
              <a:t>SHIFT</a:t>
            </a:r>
            <a:r>
              <a:rPr lang="en-US" altLang="da-DK" sz="900" b="0" noProof="1">
                <a:solidFill>
                  <a:schemeClr val="accent4"/>
                </a:solidFill>
                <a:latin typeface="+mn-lt"/>
                <a:cs typeface="Arial" panose="020B0604020202020204" pitchFamily="34" charset="0"/>
              </a:rPr>
              <a:t>-key down while dragging the corners of the picture</a:t>
            </a:r>
            <a:br>
              <a:rPr lang="en-US" altLang="da-DK" sz="900" b="0" noProof="1">
                <a:solidFill>
                  <a:schemeClr val="accent4"/>
                </a:solidFill>
                <a:latin typeface="+mn-lt"/>
                <a:cs typeface="Arial" panose="020B0604020202020204" pitchFamily="34" charset="0"/>
              </a:rPr>
            </a:br>
            <a:endParaRPr lang="en-US" altLang="da-DK" sz="900" b="0" noProof="1">
              <a:solidFill>
                <a:schemeClr val="accent4"/>
              </a:solidFill>
              <a:latin typeface="+mn-lt"/>
              <a:cs typeface="Arial" panose="020B0604020202020204" pitchFamily="34" charset="0"/>
            </a:endParaRPr>
          </a:p>
          <a:p>
            <a:pPr eaLnBrk="1" hangingPunct="1">
              <a:spcAft>
                <a:spcPts val="600"/>
              </a:spcAft>
              <a:defRPr/>
            </a:pPr>
            <a:r>
              <a:rPr lang="en-US" altLang="da-DK" sz="900" b="1" noProof="1">
                <a:solidFill>
                  <a:schemeClr val="accent4"/>
                </a:solidFill>
                <a:latin typeface="+mn-lt"/>
                <a:cs typeface="Arial" panose="020B0604020202020204" pitchFamily="34" charset="0"/>
              </a:rPr>
              <a:t>HINT: </a:t>
            </a:r>
            <a:r>
              <a:rPr lang="en-US" altLang="da-DK" sz="900" b="0" noProof="1">
                <a:solidFill>
                  <a:schemeClr val="accent4"/>
                </a:solidFill>
                <a:latin typeface="+mn-lt"/>
                <a:cs typeface="Arial" panose="020B0604020202020204" pitchFamily="34" charset="0"/>
              </a:rPr>
              <a:t>If you delete the picture and insert a new one, the picture may lie in front of the text or graphic.</a:t>
            </a:r>
            <a:br>
              <a:rPr lang="en-US" altLang="da-DK" sz="900" b="0" noProof="1">
                <a:solidFill>
                  <a:schemeClr val="accent4"/>
                </a:solidFill>
                <a:latin typeface="+mn-lt"/>
                <a:cs typeface="Arial" panose="020B0604020202020204" pitchFamily="34" charset="0"/>
              </a:rPr>
            </a:br>
            <a:r>
              <a:rPr lang="en-US" altLang="da-DK" sz="900" b="0" noProof="1">
                <a:solidFill>
                  <a:schemeClr val="accent4"/>
                </a:solidFill>
                <a:latin typeface="+mn-lt"/>
                <a:cs typeface="Arial" panose="020B0604020202020204" pitchFamily="34" charset="0"/>
              </a:rPr>
              <a:t>If this happens, select the picture, right-click and choose </a:t>
            </a:r>
            <a:r>
              <a:rPr lang="en-US" altLang="da-DK" sz="900" b="1" noProof="1">
                <a:solidFill>
                  <a:schemeClr val="accent4"/>
                </a:solidFill>
                <a:latin typeface="+mn-lt"/>
                <a:cs typeface="Arial" panose="020B0604020202020204" pitchFamily="34" charset="0"/>
              </a:rPr>
              <a:t>Send to Back</a:t>
            </a:r>
            <a:endParaRPr lang="en-US"/>
          </a:p>
        </p:txBody>
      </p:sp>
      <p:sp>
        <p:nvSpPr>
          <p:cNvPr id="3" name="Text Box 2">
            <a:extLst>
              <a:ext uri="{FF2B5EF4-FFF2-40B4-BE49-F238E27FC236}">
                <a16:creationId xmlns:a16="http://schemas.microsoft.com/office/drawing/2014/main" id="{CDC03026-C383-EB3B-2000-9B69DFB4C189}"/>
              </a:ext>
            </a:extLst>
          </p:cNvPr>
          <p:cNvSpPr txBox="1">
            <a:spLocks noChangeArrowheads="1"/>
          </p:cNvSpPr>
          <p:nvPr userDrawn="1"/>
        </p:nvSpPr>
        <p:spPr bwMode="auto">
          <a:xfrm>
            <a:off x="360000" y="1095538"/>
            <a:ext cx="2280360" cy="2416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solidFill>
                  <a:schemeClr val="accent4"/>
                </a:solidFill>
                <a:latin typeface="+mn-lt"/>
                <a:cs typeface="Arial" panose="020B0604020202020204" pitchFamily="34" charset="0"/>
              </a:rPr>
              <a:t>SLIDES &amp; LAYOUTS</a:t>
            </a:r>
            <a:br>
              <a:rPr lang="en-US" altLang="da-DK" sz="900" b="1" noProof="1">
                <a:solidFill>
                  <a:schemeClr val="accent4"/>
                </a:solidFill>
                <a:latin typeface="+mn-lt"/>
                <a:cs typeface="Arial" panose="020B0604020202020204" pitchFamily="34" charset="0"/>
              </a:rPr>
            </a:br>
            <a:br>
              <a:rPr lang="en-US" altLang="da-DK" sz="900" b="1" noProof="1">
                <a:solidFill>
                  <a:schemeClr val="accent4"/>
                </a:solidFill>
                <a:latin typeface="+mn-lt"/>
                <a:cs typeface="Arial" panose="020B0604020202020204" pitchFamily="34" charset="0"/>
              </a:rPr>
            </a:br>
            <a:r>
              <a:rPr lang="en-US" altLang="da-DK" sz="900" b="0" noProof="1">
                <a:solidFill>
                  <a:schemeClr val="accent4"/>
                </a:solidFill>
                <a:latin typeface="+mn-lt"/>
                <a:cs typeface="Arial" panose="020B0604020202020204" pitchFamily="34" charset="0"/>
              </a:rPr>
              <a:t>Click on the menu </a:t>
            </a:r>
            <a:r>
              <a:rPr lang="en-US" altLang="da-DK" sz="900" b="1" noProof="1">
                <a:solidFill>
                  <a:schemeClr val="accent4"/>
                </a:solidFill>
                <a:latin typeface="+mn-lt"/>
                <a:cs typeface="Arial" panose="020B0604020202020204" pitchFamily="34" charset="0"/>
              </a:rPr>
              <a:t>New Slide </a:t>
            </a:r>
            <a:r>
              <a:rPr lang="en-US" altLang="da-DK" sz="900" b="0" noProof="1">
                <a:solidFill>
                  <a:schemeClr val="accent4"/>
                </a:solidFill>
                <a:latin typeface="+mn-lt"/>
                <a:cs typeface="Arial" panose="020B0604020202020204" pitchFamily="34" charset="0"/>
              </a:rPr>
              <a:t>in the </a:t>
            </a:r>
            <a:r>
              <a:rPr lang="en-US" altLang="da-DK" sz="900" b="1" noProof="1">
                <a:solidFill>
                  <a:schemeClr val="accent4"/>
                </a:solidFill>
                <a:latin typeface="+mn-lt"/>
                <a:cs typeface="Arial" panose="020B0604020202020204" pitchFamily="34" charset="0"/>
              </a:rPr>
              <a:t>Home</a:t>
            </a:r>
            <a:r>
              <a:rPr lang="en-US" altLang="da-DK" sz="900" b="0" noProof="1">
                <a:solidFill>
                  <a:schemeClr val="accent4"/>
                </a:solidFill>
                <a:latin typeface="+mn-lt"/>
                <a:cs typeface="Arial" panose="020B0604020202020204" pitchFamily="34" charset="0"/>
              </a:rPr>
              <a:t> tab to insert a new slide</a:t>
            </a:r>
            <a:br>
              <a:rPr lang="en-US" altLang="da-DK" sz="900" b="0" noProof="1">
                <a:solidFill>
                  <a:schemeClr val="accent4"/>
                </a:solidFill>
                <a:latin typeface="+mn-lt"/>
                <a:cs typeface="Arial" panose="020B0604020202020204" pitchFamily="34" charset="0"/>
              </a:rPr>
            </a:br>
            <a:br>
              <a:rPr lang="en-US" altLang="da-DK" sz="900" b="0" noProof="1">
                <a:solidFill>
                  <a:schemeClr val="accent4"/>
                </a:solidFill>
                <a:latin typeface="+mn-lt"/>
                <a:cs typeface="Arial" panose="020B0604020202020204" pitchFamily="34" charset="0"/>
              </a:rPr>
            </a:br>
            <a:r>
              <a:rPr lang="en-US" altLang="da-DK" sz="900" b="1" noProof="1">
                <a:solidFill>
                  <a:schemeClr val="accent4"/>
                </a:solidFill>
                <a:latin typeface="+mn-lt"/>
                <a:cs typeface="Arial" panose="020B0604020202020204" pitchFamily="34" charset="0"/>
              </a:rPr>
              <a:t>Change layout</a:t>
            </a:r>
            <a:endParaRPr lang="en-US">
              <a:solidFill>
                <a:schemeClr val="accent4"/>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900">
                <a:solidFill>
                  <a:schemeClr val="accent4"/>
                </a:solidFill>
                <a:latin typeface="+mn-lt"/>
                <a:ea typeface="Arial" panose="020B0604020202020204" pitchFamily="34" charset="0"/>
                <a:cs typeface="Arial" panose="020B0604020202020204" pitchFamily="34" charset="0"/>
              </a:rPr>
              <a:t>Click on the arrow next to </a:t>
            </a:r>
            <a:r>
              <a:rPr lang="en-US" sz="900" b="1">
                <a:solidFill>
                  <a:schemeClr val="accent4"/>
                </a:solidFill>
                <a:latin typeface="+mn-lt"/>
                <a:ea typeface="Arial" panose="020B0604020202020204" pitchFamily="34" charset="0"/>
                <a:cs typeface="Arial" panose="020B0604020202020204" pitchFamily="34" charset="0"/>
              </a:rPr>
              <a:t>Layout </a:t>
            </a:r>
            <a:r>
              <a:rPr lang="en-US" sz="900">
                <a:solidFill>
                  <a:schemeClr val="accent4"/>
                </a:solidFill>
                <a:latin typeface="+mn-lt"/>
                <a:ea typeface="Arial" panose="020B0604020202020204" pitchFamily="34" charset="0"/>
                <a:cs typeface="Arial" panose="020B0604020202020204" pitchFamily="34" charset="0"/>
              </a:rPr>
              <a:t>to view a dropdown menu of possible slide layouts</a:t>
            </a:r>
            <a:br>
              <a:rPr lang="en-US" altLang="da-DK" sz="900" b="0" baseline="0" noProof="1">
                <a:solidFill>
                  <a:schemeClr val="accent4"/>
                </a:solidFill>
                <a:latin typeface="+mn-lt"/>
                <a:cs typeface="Arial" panose="020B0604020202020204" pitchFamily="34" charset="0"/>
              </a:rPr>
            </a:br>
            <a:br>
              <a:rPr lang="en-US" altLang="da-DK" sz="900" b="0" baseline="0" noProof="1">
                <a:solidFill>
                  <a:schemeClr val="accent4"/>
                </a:solidFill>
                <a:latin typeface="+mn-lt"/>
                <a:cs typeface="Arial" panose="020B0604020202020204" pitchFamily="34" charset="0"/>
              </a:rPr>
            </a:br>
            <a:r>
              <a:rPr lang="en-US" sz="900" b="1" noProof="1">
                <a:solidFill>
                  <a:schemeClr val="accent4"/>
                </a:solidFill>
                <a:latin typeface="+mn-lt"/>
                <a:cs typeface="Arial" panose="020B0604020202020204" pitchFamily="34" charset="0"/>
              </a:rPr>
              <a:t>Reset slide</a:t>
            </a:r>
            <a:endParaRPr lang="en-US">
              <a:solidFill>
                <a:schemeClr val="accent4"/>
              </a:solidFill>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noProof="1">
                <a:solidFill>
                  <a:schemeClr val="accent4"/>
                </a:solidFill>
                <a:latin typeface="+mn-lt"/>
                <a:cs typeface="Arial" panose="020B0604020202020204" pitchFamily="34" charset="0"/>
              </a:rPr>
              <a:t>Click the </a:t>
            </a:r>
            <a:r>
              <a:rPr lang="en-US" altLang="da-DK" sz="900" b="1" baseline="0" noProof="1">
                <a:solidFill>
                  <a:schemeClr val="accent4"/>
                </a:solidFill>
                <a:latin typeface="+mn-lt"/>
                <a:cs typeface="Arial" panose="020B0604020202020204" pitchFamily="34" charset="0"/>
              </a:rPr>
              <a:t>Reset </a:t>
            </a:r>
            <a:r>
              <a:rPr lang="en-US" altLang="da-DK" sz="900" noProof="1">
                <a:solidFill>
                  <a:schemeClr val="accent4"/>
                </a:solidFill>
                <a:latin typeface="+mn-lt"/>
                <a:cs typeface="Arial" panose="020B0604020202020204" pitchFamily="34" charset="0"/>
              </a:rPr>
              <a:t>menu to reset position, size</a:t>
            </a:r>
            <a:r>
              <a:rPr lang="en-US" altLang="da-DK" sz="900" baseline="0" noProof="1">
                <a:solidFill>
                  <a:schemeClr val="accent4"/>
                </a:solidFill>
                <a:latin typeface="+mn-lt"/>
                <a:cs typeface="Arial" panose="020B0604020202020204" pitchFamily="34" charset="0"/>
              </a:rPr>
              <a:t> and formatting of the slide placeholders to their default settings</a:t>
            </a:r>
            <a:endParaRPr lang="en-US" altLang="da-DK" sz="900" noProof="1">
              <a:solidFill>
                <a:schemeClr val="accent4"/>
              </a:solidFill>
              <a:latin typeface="+mn-lt"/>
              <a:cs typeface="Arial" panose="020B0604020202020204" pitchFamily="34" charset="0"/>
            </a:endParaRPr>
          </a:p>
          <a:p>
            <a:pPr eaLnBrk="1" hangingPunct="1">
              <a:spcAft>
                <a:spcPts val="600"/>
              </a:spcAft>
              <a:defRPr/>
            </a:pPr>
            <a:endParaRPr lang="en-US" altLang="da-DK" sz="900" b="0" noProof="1">
              <a:solidFill>
                <a:schemeClr val="accent4"/>
              </a:solidFill>
              <a:latin typeface="+mn-lt"/>
              <a:cs typeface="Arial" panose="020B0604020202020204" pitchFamily="34" charset="0"/>
            </a:endParaRPr>
          </a:p>
        </p:txBody>
      </p:sp>
      <p:pic>
        <p:nvPicPr>
          <p:cNvPr id="4" name="Picture 16">
            <a:extLst>
              <a:ext uri="{FF2B5EF4-FFF2-40B4-BE49-F238E27FC236}">
                <a16:creationId xmlns:a16="http://schemas.microsoft.com/office/drawing/2014/main" id="{1E8F9B63-1B4E-FCD0-F92A-5801D40740B7}"/>
              </a:ext>
            </a:extLst>
          </p:cNvPr>
          <p:cNvPicPr>
            <a:picLocks noChangeAspect="1"/>
          </p:cNvPicPr>
          <p:nvPr userDrawn="1"/>
        </p:nvPicPr>
        <p:blipFill>
          <a:blip r:embed="rId2"/>
          <a:stretch>
            <a:fillRect/>
          </a:stretch>
        </p:blipFill>
        <p:spPr>
          <a:xfrm>
            <a:off x="2648750" y="1492295"/>
            <a:ext cx="328881" cy="505501"/>
          </a:xfrm>
          <a:prstGeom prst="rect">
            <a:avLst/>
          </a:prstGeom>
        </p:spPr>
      </p:pic>
      <p:pic>
        <p:nvPicPr>
          <p:cNvPr id="5" name="Picture 20">
            <a:extLst>
              <a:ext uri="{FF2B5EF4-FFF2-40B4-BE49-F238E27FC236}">
                <a16:creationId xmlns:a16="http://schemas.microsoft.com/office/drawing/2014/main" id="{4B1E51C1-2883-28C2-CA38-B8364403EBEC}"/>
              </a:ext>
            </a:extLst>
          </p:cNvPr>
          <p:cNvPicPr>
            <a:picLocks noChangeAspect="1"/>
          </p:cNvPicPr>
          <p:nvPr userDrawn="1"/>
        </p:nvPicPr>
        <p:blipFill>
          <a:blip r:embed="rId3"/>
          <a:stretch>
            <a:fillRect/>
          </a:stretch>
        </p:blipFill>
        <p:spPr>
          <a:xfrm>
            <a:off x="2648750" y="2688100"/>
            <a:ext cx="538465" cy="172841"/>
          </a:xfrm>
          <a:prstGeom prst="rect">
            <a:avLst/>
          </a:prstGeom>
        </p:spPr>
      </p:pic>
      <p:pic>
        <p:nvPicPr>
          <p:cNvPr id="6" name="Picture 5">
            <a:extLst>
              <a:ext uri="{FF2B5EF4-FFF2-40B4-BE49-F238E27FC236}">
                <a16:creationId xmlns:a16="http://schemas.microsoft.com/office/drawing/2014/main" id="{1A634274-AE1A-B4F3-5997-3FEA4FB8FE12}"/>
              </a:ext>
            </a:extLst>
          </p:cNvPr>
          <p:cNvPicPr>
            <a:picLocks noChangeAspect="1"/>
          </p:cNvPicPr>
          <p:nvPr userDrawn="1"/>
        </p:nvPicPr>
        <p:blipFill>
          <a:blip r:embed="rId4"/>
          <a:stretch>
            <a:fillRect/>
          </a:stretch>
        </p:blipFill>
        <p:spPr>
          <a:xfrm>
            <a:off x="2648749" y="2143979"/>
            <a:ext cx="475428" cy="176762"/>
          </a:xfrm>
          <a:prstGeom prst="rect">
            <a:avLst/>
          </a:prstGeom>
        </p:spPr>
      </p:pic>
      <p:pic>
        <p:nvPicPr>
          <p:cNvPr id="7" name="Picture 33">
            <a:extLst>
              <a:ext uri="{FF2B5EF4-FFF2-40B4-BE49-F238E27FC236}">
                <a16:creationId xmlns:a16="http://schemas.microsoft.com/office/drawing/2014/main" id="{B5995B62-48AB-13B5-3E27-2DCDDE8510DC}"/>
              </a:ext>
            </a:extLst>
          </p:cNvPr>
          <p:cNvPicPr>
            <a:picLocks noChangeAspect="1"/>
          </p:cNvPicPr>
          <p:nvPr userDrawn="1"/>
        </p:nvPicPr>
        <p:blipFill rotWithShape="1">
          <a:blip r:embed="rId5"/>
          <a:srcRect l="3901" t="45142" r="62601" b="9046"/>
          <a:stretch/>
        </p:blipFill>
        <p:spPr>
          <a:xfrm>
            <a:off x="6906326" y="1620287"/>
            <a:ext cx="341204" cy="321707"/>
          </a:xfrm>
          <a:prstGeom prst="rect">
            <a:avLst/>
          </a:prstGeom>
        </p:spPr>
      </p:pic>
      <p:pic>
        <p:nvPicPr>
          <p:cNvPr id="9" name="bjClassifierImageBottom">
            <a:extLst>
              <a:ext uri="{FF2B5EF4-FFF2-40B4-BE49-F238E27FC236}">
                <a16:creationId xmlns:a16="http://schemas.microsoft.com/office/drawing/2014/main" id="{B3F97559-27C7-B848-AB51-D2F1E068DBCD}"/>
              </a:ext>
            </a:extLst>
          </p:cNvPr>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63500" y="6512560"/>
            <a:ext cx="1143000" cy="281940"/>
          </a:xfrm>
          <a:prstGeom prst="rect">
            <a:avLst/>
          </a:prstGeom>
        </p:spPr>
      </p:pic>
    </p:spTree>
    <p:extLst>
      <p:ext uri="{BB962C8B-B14F-4D97-AF65-F5344CB8AC3E}">
        <p14:creationId xmlns:p14="http://schemas.microsoft.com/office/powerpoint/2010/main" val="27157038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bwMode="invGray">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a:spLocks noGrp="1" noRot="1" noMove="1" noResize="1" noEditPoints="1" noAdjustHandles="1" noChangeArrowheads="1" noChangeShapeType="1"/>
          </p:cNvSpPr>
          <p:nvPr userDrawn="1"/>
        </p:nvSpPr>
        <p:spPr bwMode="inv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a:solidFill>
                <a:schemeClr val="tx1"/>
              </a:solidFill>
            </a:endParaRPr>
          </a:p>
        </p:txBody>
      </p:sp>
      <p:sp>
        <p:nvSpPr>
          <p:cNvPr id="5" name="Do not use"/>
          <p:cNvSpPr txBox="1">
            <a:spLocks noGrp="1" noRot="1" noMove="1" noResize="1" noEditPoints="1" noAdjustHandles="1" noChangeArrowheads="1" noChangeShapeType="1"/>
          </p:cNvSpPr>
          <p:nvPr userDrawn="1"/>
        </p:nvSpPr>
        <p:spPr bwMode="invGray">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a:solidFill>
                  <a:schemeClr val="bg1"/>
                </a:solidFill>
              </a:rPr>
              <a:t>If you see any </a:t>
            </a:r>
            <a:r>
              <a:rPr lang="en-US" sz="4400" b="1" i="1" noProof="0">
                <a:solidFill>
                  <a:schemeClr val="bg1"/>
                </a:solidFill>
              </a:rPr>
              <a:t>layouts after this one,</a:t>
            </a:r>
            <a:br>
              <a:rPr lang="en-US" sz="4400" b="0" i="0" noProof="0">
                <a:solidFill>
                  <a:schemeClr val="bg1"/>
                </a:solidFill>
              </a:rPr>
            </a:br>
            <a:r>
              <a:rPr lang="en-US" sz="4400" b="0" noProof="0">
                <a:solidFill>
                  <a:schemeClr val="bg1"/>
                </a:solidFill>
              </a:rPr>
              <a:t>do not use them. These layouts </a:t>
            </a:r>
            <a:r>
              <a:rPr lang="en-US" sz="4400" b="1" i="1" u="none" noProof="0">
                <a:solidFill>
                  <a:schemeClr val="bg1"/>
                </a:solidFill>
              </a:rPr>
              <a:t>are not </a:t>
            </a:r>
            <a:r>
              <a:rPr lang="en-US" sz="4400" b="0" noProof="0">
                <a:solidFill>
                  <a:schemeClr val="bg1"/>
                </a:solidFill>
              </a:rPr>
              <a:t>part of our corporate template.</a:t>
            </a:r>
            <a:br>
              <a:rPr lang="en-US" sz="2800" b="0" noProof="0">
                <a:solidFill>
                  <a:schemeClr val="bg1"/>
                </a:solidFill>
              </a:rPr>
            </a:br>
            <a:br>
              <a:rPr lang="en-US" sz="2800" b="0" noProof="0">
                <a:solidFill>
                  <a:schemeClr val="bg1"/>
                </a:solidFill>
              </a:rPr>
            </a:br>
            <a:endParaRPr lang="en-US"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a:grpSpLocks noGrp="1" noUngrp="1" noRot="1" noMove="1" noResize="1"/>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a:spLocks noGrp="1" noRot="1" noMove="1" noResize="1" noEditPoints="1" noAdjustHandles="1" noChangeArrowheads="1" noChangeShapeType="1"/>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a:spLocks noGrp="1" noRot="1" noMove="1" noResize="1" noEditPoints="1" noAdjustHandles="1" noChangeArrowheads="1" noChangeShapeType="1"/>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a:spLocks noGrp="1" noRot="1" noMove="1" noResize="1" noEditPoints="1" noAdjustHandles="1" noChangeArrowheads="1" noChangeShapeType="1"/>
          </p:cNvSpPr>
          <p:nvPr userDrawn="1"/>
        </p:nvSpPr>
        <p:spPr bwMode="invGray">
          <a:xfrm>
            <a:off x="430213" y="2588374"/>
            <a:ext cx="10152346" cy="2215991"/>
          </a:xfrm>
          <a:prstGeom prst="rect">
            <a:avLst/>
          </a:prstGeom>
        </p:spPr>
        <p:txBody>
          <a:bodyPr wrap="square">
            <a:spAutoFit/>
          </a:bodyPr>
          <a:lstStyle/>
          <a:p>
            <a:pPr algn="ctr"/>
            <a:r>
              <a:rPr lang="en-US" sz="13800" b="1" i="1" noProof="0">
                <a:solidFill>
                  <a:schemeClr val="bg1"/>
                </a:solidFill>
              </a:rPr>
              <a:t>Do not use </a:t>
            </a:r>
            <a:endParaRPr lang="en-US" sz="2400" b="1" i="1"/>
          </a:p>
        </p:txBody>
      </p:sp>
      <p:sp>
        <p:nvSpPr>
          <p:cNvPr id="16" name="Do not use">
            <a:extLst>
              <a:ext uri="{FF2B5EF4-FFF2-40B4-BE49-F238E27FC236}">
                <a16:creationId xmlns:a16="http://schemas.microsoft.com/office/drawing/2014/main" id="{A8FA78FA-4D94-4717-B7C6-6F86378D6B01}"/>
              </a:ext>
            </a:extLst>
          </p:cNvPr>
          <p:cNvSpPr txBox="1">
            <a:spLocks noGrp="1" noRot="1" noMove="1" noResize="1" noEditPoints="1" noAdjustHandles="1" noChangeArrowheads="1" noChangeShapeType="1"/>
          </p:cNvSpPr>
          <p:nvPr userDrawn="1"/>
        </p:nvSpPr>
        <p:spPr bwMode="invGray">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rPr>
              <a:t>Due to PowerPoint’s standard Copy/Paste functionality extra undesirable layouts can appear.</a:t>
            </a:r>
            <a:endParaRPr lang="en-US"/>
          </a:p>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rPr>
              <a:t>Also notice: Layouts after this might contain potential confidential information.</a:t>
            </a:r>
            <a:br>
              <a:rPr lang="en-US" sz="1800" b="0" noProof="0">
                <a:solidFill>
                  <a:schemeClr val="bg1"/>
                </a:solidFill>
              </a:rPr>
            </a:br>
            <a:endParaRPr lang="en-US"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noRot="1" noMove="1" noResize="1" noEditPoints="1" noAdjustHandles="1" noChangeArrowheads="1" noChangeShapeType="1"/>
          </p:cNvSpPr>
          <p:nvPr>
            <p:ph type="dt" sz="half" idx="10"/>
          </p:nvPr>
        </p:nvSpPr>
        <p:spPr bwMode="invGray">
          <a:xfrm>
            <a:off x="0" y="6912000"/>
            <a:ext cx="0" cy="0"/>
          </a:xfrm>
          <a:prstGeom prst="rect">
            <a:avLst/>
          </a:prstGeom>
        </p:spPr>
        <p:txBody>
          <a:bodyPr/>
          <a:lstStyle>
            <a:lvl1pPr>
              <a:defRPr>
                <a:noFill/>
              </a:defRPr>
            </a:lvl1pPr>
          </a:lstStyle>
          <a:p>
            <a:fld id="{D94AE23B-2641-449D-B618-1A6703EA9828}" type="datetime1">
              <a:rPr lang="en-US" smtClean="0"/>
              <a:t>5/12/2026</a:t>
            </a:fld>
            <a:endParaRPr lang="en-US"/>
          </a:p>
        </p:txBody>
      </p:sp>
      <p:sp>
        <p:nvSpPr>
          <p:cNvPr id="10" name="Footer Placeholder 3">
            <a:extLst>
              <a:ext uri="{FF2B5EF4-FFF2-40B4-BE49-F238E27FC236}">
                <a16:creationId xmlns:a16="http://schemas.microsoft.com/office/drawing/2014/main" id="{7D212C3A-1726-4BC5-8AF1-72D08F6358E7}"/>
              </a:ext>
            </a:extLst>
          </p:cNvPr>
          <p:cNvSpPr>
            <a:spLocks noGrp="1" noRot="1" noMove="1" noResize="1" noEditPoints="1" noAdjustHandles="1" noChangeArrowheads="1" noChangeShapeType="1"/>
          </p:cNvSpPr>
          <p:nvPr>
            <p:ph type="ftr" sz="quarter" idx="11"/>
          </p:nvPr>
        </p:nvSpPr>
        <p:spPr bwMode="invGray">
          <a:xfrm>
            <a:off x="0" y="6912000"/>
            <a:ext cx="0" cy="0"/>
          </a:xfrm>
          <a:prstGeom prst="rect">
            <a:avLst/>
          </a:prstGeom>
        </p:spPr>
        <p:txBody>
          <a:bodyPr/>
          <a:lstStyle>
            <a:lvl1pPr>
              <a:defRPr>
                <a:noFill/>
              </a:defRPr>
            </a:lvl1pPr>
          </a:lstStyle>
          <a:p>
            <a:endParaRPr lang="en-US"/>
          </a:p>
        </p:txBody>
      </p:sp>
      <p:sp>
        <p:nvSpPr>
          <p:cNvPr id="11" name="Slide Number Placeholder 4">
            <a:extLst>
              <a:ext uri="{FF2B5EF4-FFF2-40B4-BE49-F238E27FC236}">
                <a16:creationId xmlns:a16="http://schemas.microsoft.com/office/drawing/2014/main" id="{989D5CFC-5012-4F36-B4E7-CE36F67CD235}"/>
              </a:ext>
            </a:extLst>
          </p:cNvPr>
          <p:cNvSpPr>
            <a:spLocks noGrp="1" noRot="1" noMove="1" noResize="1" noEditPoints="1" noAdjustHandles="1" noChangeArrowheads="1" noChangeShapeType="1"/>
          </p:cNvSpPr>
          <p:nvPr>
            <p:ph type="sldNum" sz="quarter" idx="12"/>
          </p:nvPr>
        </p:nvSpPr>
        <p:spPr bwMode="invGray">
          <a:xfrm flipV="1">
            <a:off x="0" y="6912000"/>
            <a:ext cx="0" cy="0"/>
          </a:xfrm>
          <a:prstGeom prst="rect">
            <a:avLst/>
          </a:prstGeom>
        </p:spPr>
        <p:txBody>
          <a:bodyPr/>
          <a:lstStyle>
            <a:lvl1pPr>
              <a:defRPr>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22935492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360362"/>
            <a:ext cx="7589836" cy="1196976"/>
          </a:xfrm>
        </p:spPr>
        <p:txBody>
          <a:bodyPr/>
          <a:lstStyle>
            <a:lvl1pPr>
              <a:defRPr>
                <a:solidFill>
                  <a:schemeClr val="accent3"/>
                </a:solidFill>
              </a:defRPr>
            </a:lvl1pPr>
          </a:lstStyle>
          <a:p>
            <a:r>
              <a:rPr lang="en-US" noProof="0"/>
              <a:t>Click to add title</a:t>
            </a:r>
            <a:endParaRPr lang="en-US"/>
          </a:p>
        </p:txBody>
      </p:sp>
      <p:sp>
        <p:nvSpPr>
          <p:cNvPr id="3" name="Content Placeholder 2"/>
          <p:cNvSpPr>
            <a:spLocks noGrp="1"/>
          </p:cNvSpPr>
          <p:nvPr>
            <p:ph idx="1" hasCustomPrompt="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noProof="0"/>
              <a:t>Click to add text                                                                              Enter &amp; TAB to view next text style                                                 SHIFT+TAB to view previous text style</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a:p>
            <a:pPr lvl="5"/>
            <a:r>
              <a:rPr lang="en-US" noProof="0"/>
              <a:t>6 level</a:t>
            </a:r>
            <a:endParaRPr lang="en-US"/>
          </a:p>
          <a:p>
            <a:pPr lvl="6"/>
            <a:r>
              <a:rPr lang="en-US" noProof="0"/>
              <a:t>7 level</a:t>
            </a:r>
            <a:endParaRPr lang="en-US"/>
          </a:p>
          <a:p>
            <a:pPr lvl="7"/>
            <a:r>
              <a:rPr lang="en-US" noProof="0"/>
              <a:t>8 level</a:t>
            </a:r>
            <a:endParaRPr lang="en-US"/>
          </a:p>
          <a:p>
            <a:pPr lvl="8"/>
            <a:r>
              <a:rPr lang="en-US" noProof="0"/>
              <a:t>9 level</a:t>
            </a:r>
            <a:endParaRPr lang="en-US"/>
          </a:p>
        </p:txBody>
      </p:sp>
      <p:sp>
        <p:nvSpPr>
          <p:cNvPr id="14" name="Text Placeholder 13">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749200"/>
            <a:ext cx="11473200" cy="370800"/>
          </a:xfrm>
        </p:spPr>
        <p:txBody>
          <a:bodyPr anchor="b"/>
          <a:lstStyle>
            <a:lvl1pPr marL="0" indent="0">
              <a:buNone/>
              <a:defRPr sz="900" i="1">
                <a:solidFill>
                  <a:schemeClr val="tx1"/>
                </a:solidFill>
              </a:defRPr>
            </a:lvl1pPr>
          </a:lstStyle>
          <a:p>
            <a:pPr lvl="0"/>
            <a:r>
              <a:rPr lang="en-US"/>
              <a:t>Insert notes</a:t>
            </a:r>
          </a:p>
        </p:txBody>
      </p:sp>
      <p:sp>
        <p:nvSpPr>
          <p:cNvPr id="4" name="Date Placeholder 3">
            <a:extLst>
              <a:ext uri="{FF2B5EF4-FFF2-40B4-BE49-F238E27FC236}">
                <a16:creationId xmlns:a16="http://schemas.microsoft.com/office/drawing/2014/main" id="{8614A0FD-B7C2-1003-C104-9F042BCA2CD9}"/>
              </a:ext>
            </a:extLst>
          </p:cNvPr>
          <p:cNvSpPr>
            <a:spLocks noGrp="1"/>
          </p:cNvSpPr>
          <p:nvPr>
            <p:ph type="dt" sz="half" idx="17"/>
          </p:nvPr>
        </p:nvSpPr>
        <p:spPr/>
        <p:txBody>
          <a:bodyPr/>
          <a:lstStyle/>
          <a:p>
            <a:pPr algn="r"/>
            <a:fld id="{D9490F39-9670-48C6-B7AF-75704D3194A0}" type="datetime1">
              <a:rPr lang="en-US" smtClean="0"/>
              <a:pPr algn="r"/>
              <a:t>5/12/2026</a:t>
            </a:fld>
            <a:endParaRPr lang="en-US"/>
          </a:p>
        </p:txBody>
      </p:sp>
      <p:sp>
        <p:nvSpPr>
          <p:cNvPr id="5" name="Slide Number Placeholder 4">
            <a:extLst>
              <a:ext uri="{FF2B5EF4-FFF2-40B4-BE49-F238E27FC236}">
                <a16:creationId xmlns:a16="http://schemas.microsoft.com/office/drawing/2014/main" id="{18DB4F76-CF7B-A1C3-7AF9-A6971FBEC67D}"/>
              </a:ext>
            </a:extLst>
          </p:cNvPr>
          <p:cNvSpPr>
            <a:spLocks noGrp="1"/>
          </p:cNvSpPr>
          <p:nvPr>
            <p:ph type="sldNum" sz="quarter" idx="18"/>
          </p:nvPr>
        </p:nvSpPr>
        <p:spPr/>
        <p:txBody>
          <a:bodyPr/>
          <a:lstStyle/>
          <a:p>
            <a:fld id="{23AA811B-2EBD-4900-905E-5BE206449611}" type="slidenum">
              <a:rPr lang="en-US" smtClean="0"/>
              <a:pPr/>
              <a:t>‹#›</a:t>
            </a:fld>
            <a:endParaRPr lang="en-US"/>
          </a:p>
        </p:txBody>
      </p:sp>
      <p:pic>
        <p:nvPicPr>
          <p:cNvPr id="15" name="bjClassifierImageBottom">
            <a:extLst>
              <a:ext uri="{FF2B5EF4-FFF2-40B4-BE49-F238E27FC236}">
                <a16:creationId xmlns:a16="http://schemas.microsoft.com/office/drawing/2014/main" id="{9B4D4E8D-5504-BCFC-4979-987ABFD0617B}"/>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63500" y="6442075"/>
            <a:ext cx="1428750" cy="352425"/>
          </a:xfrm>
          <a:prstGeom prst="rect">
            <a:avLst/>
          </a:prstGeom>
        </p:spPr>
      </p:pic>
    </p:spTree>
    <p:extLst>
      <p:ext uri="{BB962C8B-B14F-4D97-AF65-F5344CB8AC3E}">
        <p14:creationId xmlns:p14="http://schemas.microsoft.com/office/powerpoint/2010/main" val="2152628662"/>
      </p:ext>
    </p:extLst>
  </p:cSld>
  <p:clrMapOvr>
    <a:masterClrMapping/>
  </p:clrMapOvr>
  <p:extLst>
    <p:ext uri="{DCECCB84-F9BA-43D5-87BE-67443E8EF086}">
      <p15:sldGuideLst xmlns:p15="http://schemas.microsoft.com/office/powerpoint/2012/main">
        <p15:guide id="1" orient="horz" pos="981">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noProof="0"/>
              <a:t>Click to add title</a:t>
            </a:r>
            <a:endParaRPr lang="en-US"/>
          </a:p>
        </p:txBody>
      </p:sp>
      <p:sp>
        <p:nvSpPr>
          <p:cNvPr id="3" name="Content Placeholder 2"/>
          <p:cNvSpPr>
            <a:spLocks noGrp="1"/>
          </p:cNvSpPr>
          <p:nvPr>
            <p:ph idx="1"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add text</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Text Placeholder 13">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972400"/>
            <a:ext cx="11473200" cy="180000"/>
          </a:xfrm>
        </p:spPr>
        <p:txBody>
          <a:bodyPr anchor="b"/>
          <a:lstStyle>
            <a:lvl1pPr marL="0" indent="0">
              <a:buNone/>
              <a:defRPr sz="800" i="1">
                <a:solidFill>
                  <a:schemeClr val="tx1"/>
                </a:solidFill>
              </a:defRPr>
            </a:lvl1pPr>
          </a:lstStyle>
          <a:p>
            <a:pPr lvl="0"/>
            <a:r>
              <a:rPr lang="en-US"/>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a:xfrm>
            <a:off x="9888537" y="6344191"/>
            <a:ext cx="1498874" cy="180000"/>
          </a:xfrm>
          <a:prstGeom prst="rect">
            <a:avLst/>
          </a:prstGeom>
        </p:spPr>
        <p:txBody>
          <a:bodyPr/>
          <a:lstStyle>
            <a:lvl1pPr algn="r">
              <a:defRPr>
                <a:solidFill>
                  <a:schemeClr val="tx1"/>
                </a:solidFill>
              </a:defRPr>
            </a:lvl1pPr>
          </a:lstStyle>
          <a:p>
            <a:fld id="{C204FE7F-AC02-4933-A3F3-221A9E33CB7F}" type="datetime1">
              <a:rPr lang="en-US" smtClean="0"/>
              <a:pPr/>
              <a:t>5/12/2026</a:t>
            </a:fld>
            <a:endParaRPr lang="en-US"/>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1566800" y="6363241"/>
            <a:ext cx="266400" cy="180000"/>
          </a:xfrm>
          <a:prstGeom prst="rect">
            <a:avLst/>
          </a:prstGeom>
        </p:spPr>
        <p:txBody>
          <a:bodyPr/>
          <a:lstStyle>
            <a:lvl1pPr>
              <a:defRPr>
                <a:solidFill>
                  <a:schemeClr val="tx1"/>
                </a:solidFill>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15501556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4_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noProof="0"/>
              <a:t>Click to add title</a:t>
            </a:r>
            <a:endParaRPr lang="en-US"/>
          </a:p>
        </p:txBody>
      </p:sp>
      <p:sp>
        <p:nvSpPr>
          <p:cNvPr id="3" name="Content Placeholder 2"/>
          <p:cNvSpPr>
            <a:spLocks noGrp="1"/>
          </p:cNvSpPr>
          <p:nvPr>
            <p:ph idx="1"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add text</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Text Placeholder 13">
            <a:extLst>
              <a:ext uri="{FF2B5EF4-FFF2-40B4-BE49-F238E27FC236}">
                <a16:creationId xmlns:a16="http://schemas.microsoft.com/office/drawing/2014/main" id="{DEBBE09B-35FB-4112-9ADF-BA0FEC378F77}"/>
              </a:ext>
            </a:extLst>
          </p:cNvPr>
          <p:cNvSpPr>
            <a:spLocks noGrp="1"/>
          </p:cNvSpPr>
          <p:nvPr>
            <p:ph type="body" sz="quarter" idx="16" hasCustomPrompt="1"/>
          </p:nvPr>
        </p:nvSpPr>
        <p:spPr>
          <a:xfrm>
            <a:off x="360000" y="5972400"/>
            <a:ext cx="11473200" cy="180000"/>
          </a:xfrm>
        </p:spPr>
        <p:txBody>
          <a:bodyPr anchor="b"/>
          <a:lstStyle>
            <a:lvl1pPr marL="0" indent="0">
              <a:buNone/>
              <a:defRPr sz="800" i="1">
                <a:solidFill>
                  <a:schemeClr val="tx1"/>
                </a:solidFill>
              </a:defRPr>
            </a:lvl1pPr>
          </a:lstStyle>
          <a:p>
            <a:pPr lvl="0"/>
            <a:r>
              <a:rPr lang="en-US"/>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lvl1pPr algn="r">
              <a:defRPr>
                <a:solidFill>
                  <a:schemeClr val="tx1"/>
                </a:solidFill>
              </a:defRPr>
            </a:lvl1pPr>
          </a:lstStyle>
          <a:p>
            <a:fld id="{C204FE7F-AC02-4933-A3F3-221A9E33CB7F}" type="datetime1">
              <a:rPr lang="en-US" smtClean="0"/>
              <a:pPr/>
              <a:t>5/12/2026</a:t>
            </a:fld>
            <a:endParaRPr lang="en-US"/>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355631081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heme" Target="../theme/theme1.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244A3A3-6319-C6AD-1BC3-EAD4B5E8AF65}"/>
              </a:ext>
            </a:extLst>
          </p:cNvPr>
          <p:cNvGraphicFramePr>
            <a:graphicFrameLocks noChangeAspect="1"/>
          </p:cNvGraphicFramePr>
          <p:nvPr userDrawn="1">
            <p:custDataLst>
              <p:tags r:id="rId96"/>
            </p:custDataLst>
            <p:extLst>
              <p:ext uri="{D42A27DB-BD31-4B8C-83A1-F6EECF244321}">
                <p14:modId xmlns:p14="http://schemas.microsoft.com/office/powerpoint/2010/main" val="39702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7" imgW="424" imgH="425" progId="TCLayout.ActiveDocument.1">
                  <p:embed/>
                </p:oleObj>
              </mc:Choice>
              <mc:Fallback>
                <p:oleObj name="think-cell Slide" r:id="rId97" imgW="424" imgH="425" progId="TCLayout.ActiveDocument.1">
                  <p:embed/>
                  <p:pic>
                    <p:nvPicPr>
                      <p:cNvPr id="12" name="think-cell data - do not delete" hidden="1">
                        <a:extLst>
                          <a:ext uri="{FF2B5EF4-FFF2-40B4-BE49-F238E27FC236}">
                            <a16:creationId xmlns:a16="http://schemas.microsoft.com/office/drawing/2014/main" id="{2244A3A3-6319-C6AD-1BC3-EAD4B5E8AF65}"/>
                          </a:ext>
                        </a:extLst>
                      </p:cNvPr>
                      <p:cNvPicPr/>
                      <p:nvPr/>
                    </p:nvPicPr>
                    <p:blipFill>
                      <a:blip r:embed="rId98"/>
                      <a:stretch>
                        <a:fillRect/>
                      </a:stretch>
                    </p:blipFill>
                    <p:spPr>
                      <a:xfrm>
                        <a:off x="1588" y="1588"/>
                        <a:ext cx="1588" cy="1588"/>
                      </a:xfrm>
                      <a:prstGeom prst="rect">
                        <a:avLst/>
                      </a:prstGeom>
                    </p:spPr>
                  </p:pic>
                </p:oleObj>
              </mc:Fallback>
            </mc:AlternateContent>
          </a:graphicData>
        </a:graphic>
      </p:graphicFrame>
      <p:grpSp>
        <p:nvGrpSpPr>
          <p:cNvPr id="15" name="Group grid" hidden="1">
            <a:extLst>
              <a:ext uri="{FF2B5EF4-FFF2-40B4-BE49-F238E27FC236}">
                <a16:creationId xmlns:a16="http://schemas.microsoft.com/office/drawing/2014/main" id="{37607DA1-F6E8-D49E-5C59-1B8ACFFD0F41}"/>
              </a:ext>
            </a:extLst>
          </p:cNvPr>
          <p:cNvGrpSpPr/>
          <p:nvPr userDrawn="1"/>
        </p:nvGrpSpPr>
        <p:grpSpPr>
          <a:xfrm>
            <a:off x="360000" y="295200"/>
            <a:ext cx="11471999" cy="6224400"/>
            <a:chOff x="360000" y="295200"/>
            <a:chExt cx="11471999" cy="6224400"/>
          </a:xfrm>
        </p:grpSpPr>
        <p:sp>
          <p:nvSpPr>
            <p:cNvPr id="17" name="C1">
              <a:extLst>
                <a:ext uri="{FF2B5EF4-FFF2-40B4-BE49-F238E27FC236}">
                  <a16:creationId xmlns:a16="http://schemas.microsoft.com/office/drawing/2014/main" id="{FCAC7215-4CB8-7133-2B74-03174E533547}"/>
                </a:ext>
              </a:extLst>
            </p:cNvPr>
            <p:cNvSpPr/>
            <p:nvPr/>
          </p:nvSpPr>
          <p:spPr>
            <a:xfrm>
              <a:off x="360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1">
              <a:extLst>
                <a:ext uri="{FF2B5EF4-FFF2-40B4-BE49-F238E27FC236}">
                  <a16:creationId xmlns:a16="http://schemas.microsoft.com/office/drawing/2014/main" id="{D5B3F64F-1EAF-2219-E0E7-7DCB535C2A25}"/>
                </a:ext>
              </a:extLst>
            </p:cNvPr>
            <p:cNvSpPr/>
            <p:nvPr/>
          </p:nvSpPr>
          <p:spPr>
            <a:xfrm>
              <a:off x="1151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2">
              <a:extLst>
                <a:ext uri="{FF2B5EF4-FFF2-40B4-BE49-F238E27FC236}">
                  <a16:creationId xmlns:a16="http://schemas.microsoft.com/office/drawing/2014/main" id="{067834E4-B5E1-B7D9-7C6B-A03DC9231377}"/>
                </a:ext>
              </a:extLst>
            </p:cNvPr>
            <p:cNvSpPr/>
            <p:nvPr/>
          </p:nvSpPr>
          <p:spPr>
            <a:xfrm>
              <a:off x="1331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S2">
              <a:extLst>
                <a:ext uri="{FF2B5EF4-FFF2-40B4-BE49-F238E27FC236}">
                  <a16:creationId xmlns:a16="http://schemas.microsoft.com/office/drawing/2014/main" id="{9A198648-E105-32FC-2D32-35223168F945}"/>
                </a:ext>
              </a:extLst>
            </p:cNvPr>
            <p:cNvSpPr/>
            <p:nvPr/>
          </p:nvSpPr>
          <p:spPr>
            <a:xfrm>
              <a:off x="2122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3">
              <a:extLst>
                <a:ext uri="{FF2B5EF4-FFF2-40B4-BE49-F238E27FC236}">
                  <a16:creationId xmlns:a16="http://schemas.microsoft.com/office/drawing/2014/main" id="{A7B1529F-F8EF-2EAC-0134-C0F596D44059}"/>
                </a:ext>
              </a:extLst>
            </p:cNvPr>
            <p:cNvSpPr/>
            <p:nvPr/>
          </p:nvSpPr>
          <p:spPr>
            <a:xfrm>
              <a:off x="2302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3">
              <a:extLst>
                <a:ext uri="{FF2B5EF4-FFF2-40B4-BE49-F238E27FC236}">
                  <a16:creationId xmlns:a16="http://schemas.microsoft.com/office/drawing/2014/main" id="{8A74E50A-9555-0B30-AB97-B7F19CB54097}"/>
                </a:ext>
              </a:extLst>
            </p:cNvPr>
            <p:cNvSpPr/>
            <p:nvPr/>
          </p:nvSpPr>
          <p:spPr>
            <a:xfrm>
              <a:off x="3093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4">
              <a:extLst>
                <a:ext uri="{FF2B5EF4-FFF2-40B4-BE49-F238E27FC236}">
                  <a16:creationId xmlns:a16="http://schemas.microsoft.com/office/drawing/2014/main" id="{7323F0D6-DD8A-EF68-F736-A8022B9D1A9F}"/>
                </a:ext>
              </a:extLst>
            </p:cNvPr>
            <p:cNvSpPr/>
            <p:nvPr/>
          </p:nvSpPr>
          <p:spPr>
            <a:xfrm>
              <a:off x="3273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4">
              <a:extLst>
                <a:ext uri="{FF2B5EF4-FFF2-40B4-BE49-F238E27FC236}">
                  <a16:creationId xmlns:a16="http://schemas.microsoft.com/office/drawing/2014/main" id="{B320E54E-CE85-2891-EEFD-52FDE3AE7C80}"/>
                </a:ext>
              </a:extLst>
            </p:cNvPr>
            <p:cNvSpPr/>
            <p:nvPr/>
          </p:nvSpPr>
          <p:spPr>
            <a:xfrm>
              <a:off x="4064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C5">
              <a:extLst>
                <a:ext uri="{FF2B5EF4-FFF2-40B4-BE49-F238E27FC236}">
                  <a16:creationId xmlns:a16="http://schemas.microsoft.com/office/drawing/2014/main" id="{DD80A58A-428A-B076-CACA-2D6A4081345D}"/>
                </a:ext>
              </a:extLst>
            </p:cNvPr>
            <p:cNvSpPr/>
            <p:nvPr/>
          </p:nvSpPr>
          <p:spPr>
            <a:xfrm>
              <a:off x="4244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S5">
              <a:extLst>
                <a:ext uri="{FF2B5EF4-FFF2-40B4-BE49-F238E27FC236}">
                  <a16:creationId xmlns:a16="http://schemas.microsoft.com/office/drawing/2014/main" id="{35CC93A5-1EDF-BFE6-8A28-E74B9EA3E6D6}"/>
                </a:ext>
              </a:extLst>
            </p:cNvPr>
            <p:cNvSpPr/>
            <p:nvPr/>
          </p:nvSpPr>
          <p:spPr>
            <a:xfrm>
              <a:off x="5035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C6">
              <a:extLst>
                <a:ext uri="{FF2B5EF4-FFF2-40B4-BE49-F238E27FC236}">
                  <a16:creationId xmlns:a16="http://schemas.microsoft.com/office/drawing/2014/main" id="{AC300F1A-A752-4FE8-EB0B-ED2AE1F850A9}"/>
                </a:ext>
              </a:extLst>
            </p:cNvPr>
            <p:cNvSpPr/>
            <p:nvPr/>
          </p:nvSpPr>
          <p:spPr>
            <a:xfrm>
              <a:off x="5215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S6">
              <a:extLst>
                <a:ext uri="{FF2B5EF4-FFF2-40B4-BE49-F238E27FC236}">
                  <a16:creationId xmlns:a16="http://schemas.microsoft.com/office/drawing/2014/main" id="{0A82CD33-8C47-6F3D-709D-54336175CE4A}"/>
                </a:ext>
              </a:extLst>
            </p:cNvPr>
            <p:cNvSpPr/>
            <p:nvPr/>
          </p:nvSpPr>
          <p:spPr>
            <a:xfrm>
              <a:off x="6006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7">
              <a:extLst>
                <a:ext uri="{FF2B5EF4-FFF2-40B4-BE49-F238E27FC236}">
                  <a16:creationId xmlns:a16="http://schemas.microsoft.com/office/drawing/2014/main" id="{B4D0E9E5-B078-25FA-0079-C66E1B3AE53D}"/>
                </a:ext>
              </a:extLst>
            </p:cNvPr>
            <p:cNvSpPr/>
            <p:nvPr/>
          </p:nvSpPr>
          <p:spPr>
            <a:xfrm>
              <a:off x="6186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S7">
              <a:extLst>
                <a:ext uri="{FF2B5EF4-FFF2-40B4-BE49-F238E27FC236}">
                  <a16:creationId xmlns:a16="http://schemas.microsoft.com/office/drawing/2014/main" id="{C06C1640-027D-0525-132B-129F8BEE8779}"/>
                </a:ext>
              </a:extLst>
            </p:cNvPr>
            <p:cNvSpPr/>
            <p:nvPr/>
          </p:nvSpPr>
          <p:spPr>
            <a:xfrm>
              <a:off x="6977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C8">
              <a:extLst>
                <a:ext uri="{FF2B5EF4-FFF2-40B4-BE49-F238E27FC236}">
                  <a16:creationId xmlns:a16="http://schemas.microsoft.com/office/drawing/2014/main" id="{494CEA86-2D55-DBE2-7EC9-4330EBCA7ED4}"/>
                </a:ext>
              </a:extLst>
            </p:cNvPr>
            <p:cNvSpPr/>
            <p:nvPr/>
          </p:nvSpPr>
          <p:spPr>
            <a:xfrm>
              <a:off x="7157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S8">
              <a:extLst>
                <a:ext uri="{FF2B5EF4-FFF2-40B4-BE49-F238E27FC236}">
                  <a16:creationId xmlns:a16="http://schemas.microsoft.com/office/drawing/2014/main" id="{D7089E16-97A1-A681-FDF8-49A2E7B966A7}"/>
                </a:ext>
              </a:extLst>
            </p:cNvPr>
            <p:cNvSpPr/>
            <p:nvPr/>
          </p:nvSpPr>
          <p:spPr>
            <a:xfrm>
              <a:off x="7948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C9">
              <a:extLst>
                <a:ext uri="{FF2B5EF4-FFF2-40B4-BE49-F238E27FC236}">
                  <a16:creationId xmlns:a16="http://schemas.microsoft.com/office/drawing/2014/main" id="{617FDEB0-8FC6-2DE6-077F-0E9692D894B2}"/>
                </a:ext>
              </a:extLst>
            </p:cNvPr>
            <p:cNvSpPr/>
            <p:nvPr/>
          </p:nvSpPr>
          <p:spPr>
            <a:xfrm>
              <a:off x="8128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S9">
              <a:extLst>
                <a:ext uri="{FF2B5EF4-FFF2-40B4-BE49-F238E27FC236}">
                  <a16:creationId xmlns:a16="http://schemas.microsoft.com/office/drawing/2014/main" id="{A49F0502-3282-B572-379B-3E4B9D4F3060}"/>
                </a:ext>
              </a:extLst>
            </p:cNvPr>
            <p:cNvSpPr/>
            <p:nvPr/>
          </p:nvSpPr>
          <p:spPr>
            <a:xfrm>
              <a:off x="8919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C10">
              <a:extLst>
                <a:ext uri="{FF2B5EF4-FFF2-40B4-BE49-F238E27FC236}">
                  <a16:creationId xmlns:a16="http://schemas.microsoft.com/office/drawing/2014/main" id="{6C3EAFBB-1F58-2590-ACEF-9D24F0238C55}"/>
                </a:ext>
              </a:extLst>
            </p:cNvPr>
            <p:cNvSpPr/>
            <p:nvPr/>
          </p:nvSpPr>
          <p:spPr>
            <a:xfrm>
              <a:off x="9099000" y="295200"/>
              <a:ext cx="790999"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S10">
              <a:extLst>
                <a:ext uri="{FF2B5EF4-FFF2-40B4-BE49-F238E27FC236}">
                  <a16:creationId xmlns:a16="http://schemas.microsoft.com/office/drawing/2014/main" id="{8E4E203C-405D-AD88-98C8-F457198CBB5F}"/>
                </a:ext>
              </a:extLst>
            </p:cNvPr>
            <p:cNvSpPr/>
            <p:nvPr/>
          </p:nvSpPr>
          <p:spPr>
            <a:xfrm>
              <a:off x="9890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C11">
              <a:extLst>
                <a:ext uri="{FF2B5EF4-FFF2-40B4-BE49-F238E27FC236}">
                  <a16:creationId xmlns:a16="http://schemas.microsoft.com/office/drawing/2014/main" id="{DFF9C1D7-DA56-9469-255A-D9EC585B0D14}"/>
                </a:ext>
              </a:extLst>
            </p:cNvPr>
            <p:cNvSpPr/>
            <p:nvPr/>
          </p:nvSpPr>
          <p:spPr>
            <a:xfrm>
              <a:off x="10070000" y="295200"/>
              <a:ext cx="791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S11">
              <a:extLst>
                <a:ext uri="{FF2B5EF4-FFF2-40B4-BE49-F238E27FC236}">
                  <a16:creationId xmlns:a16="http://schemas.microsoft.com/office/drawing/2014/main" id="{9F04DF33-E962-FE3C-27F3-907BEE322AF0}"/>
                </a:ext>
              </a:extLst>
            </p:cNvPr>
            <p:cNvSpPr/>
            <p:nvPr/>
          </p:nvSpPr>
          <p:spPr>
            <a:xfrm>
              <a:off x="10861000" y="295200"/>
              <a:ext cx="180000"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C12">
              <a:extLst>
                <a:ext uri="{FF2B5EF4-FFF2-40B4-BE49-F238E27FC236}">
                  <a16:creationId xmlns:a16="http://schemas.microsoft.com/office/drawing/2014/main" id="{B890B9CC-5587-B28B-464B-E17FCD28DDF9}"/>
                </a:ext>
              </a:extLst>
            </p:cNvPr>
            <p:cNvSpPr/>
            <p:nvPr/>
          </p:nvSpPr>
          <p:spPr>
            <a:xfrm>
              <a:off x="11041000" y="295200"/>
              <a:ext cx="790999" cy="6224400"/>
            </a:xfrm>
            <a:prstGeom prst="rect">
              <a:avLst/>
            </a:prstGeom>
            <a:noFill/>
            <a:ln w="3175" cap="flat" cmpd="sng" algn="ctr">
              <a:solidFill>
                <a:srgbClr val="FF0066"/>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295200"/>
            <a:ext cx="7588800" cy="1411288"/>
          </a:xfrm>
          <a:prstGeom prst="rect">
            <a:avLst/>
          </a:prstGeom>
        </p:spPr>
        <p:txBody>
          <a:bodyPr vert="horz" lIns="0" tIns="0" rIns="0" bIns="0" rtlCol="0" anchor="t" anchorCtr="0">
            <a:noAutofit/>
          </a:bodyPr>
          <a:lstStyle/>
          <a:p>
            <a:r>
              <a:rPr lang="en-US"/>
              <a:t>Click to add title</a:t>
            </a:r>
          </a:p>
        </p:txBody>
      </p:sp>
      <p:sp>
        <p:nvSpPr>
          <p:cNvPr id="3" name="Text Placeholder 2"/>
          <p:cNvSpPr>
            <a:spLocks noGrp="1"/>
          </p:cNvSpPr>
          <p:nvPr>
            <p:ph type="body" idx="1"/>
          </p:nvPr>
        </p:nvSpPr>
        <p:spPr>
          <a:xfrm>
            <a:off x="360000" y="1706400"/>
            <a:ext cx="7588800" cy="4041938"/>
          </a:xfrm>
          <a:prstGeom prst="rect">
            <a:avLst/>
          </a:prstGeom>
        </p:spPr>
        <p:txBody>
          <a:bodyPr vert="horz" lIns="0" tIns="0" rIns="0" bIns="0" rtlCol="0">
            <a:noAutofit/>
          </a:bodyPr>
          <a:lstStyle/>
          <a:p>
            <a:pPr lvl="0"/>
            <a:r>
              <a:rPr lang="en-US" noProof="0"/>
              <a:t>Level 1</a:t>
            </a:r>
            <a:endParaRPr lang="en-US"/>
          </a:p>
          <a:p>
            <a:pPr lvl="1"/>
            <a:r>
              <a:rPr lang="en-US" noProof="0"/>
              <a:t>Level 2</a:t>
            </a:r>
            <a:endParaRPr lang="en-US"/>
          </a:p>
          <a:p>
            <a:pPr lvl="2"/>
            <a:r>
              <a:rPr lang="en-US" noProof="0"/>
              <a:t>Level 3</a:t>
            </a:r>
            <a:endParaRPr lang="en-US"/>
          </a:p>
          <a:p>
            <a:pPr lvl="3"/>
            <a:r>
              <a:rPr lang="en-US" noProof="0"/>
              <a:t>Level 4, Header</a:t>
            </a:r>
            <a:endParaRPr lang="en-US"/>
          </a:p>
          <a:p>
            <a:pPr lvl="4"/>
            <a:r>
              <a:rPr lang="en-US" noProof="0"/>
              <a:t>Level 5, Body</a:t>
            </a:r>
            <a:endParaRPr lang="en-US"/>
          </a:p>
          <a:p>
            <a:pPr lvl="5"/>
            <a:r>
              <a:rPr lang="en-US" noProof="0"/>
              <a:t>Level 6</a:t>
            </a:r>
            <a:endParaRPr lang="en-US"/>
          </a:p>
          <a:p>
            <a:pPr lvl="6"/>
            <a:r>
              <a:rPr lang="en-US" noProof="0"/>
              <a:t>Level 7, Small Header</a:t>
            </a:r>
            <a:endParaRPr lang="en-US"/>
          </a:p>
          <a:p>
            <a:pPr lvl="7"/>
            <a:r>
              <a:rPr lang="en-US" noProof="0"/>
              <a:t>Level 8, Small Body</a:t>
            </a:r>
            <a:endParaRPr lang="en-US"/>
          </a:p>
          <a:p>
            <a:pPr lvl="8"/>
            <a:r>
              <a:rPr lang="en-US" noProof="0"/>
              <a:t>Level 9, Infographic</a:t>
            </a:r>
            <a:endParaRPr lang="en-US"/>
          </a:p>
        </p:txBody>
      </p:sp>
      <p:sp>
        <p:nvSpPr>
          <p:cNvPr id="5" name="Legal dynamic" descr="{&quot;templafy&quot;:{&quot;id&quot;:&quot;5e3ff251-524c-44ea-9a8c-20640c77c771&quot;}}" title="Form.Cigna_Confidentiality.EvernorthConfidentiality">
            <a:extLst>
              <a:ext uri="{FF2B5EF4-FFF2-40B4-BE49-F238E27FC236}">
                <a16:creationId xmlns:a16="http://schemas.microsoft.com/office/drawing/2014/main" id="{0218BFDC-C593-4060-86CB-6BA121C02B84}"/>
              </a:ext>
            </a:extLst>
          </p:cNvPr>
          <p:cNvSpPr/>
          <p:nvPr userDrawn="1"/>
        </p:nvSpPr>
        <p:spPr>
          <a:xfrm>
            <a:off x="5922000" y="6216565"/>
            <a:ext cx="44316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r">
              <a:lnSpc>
                <a:spcPct val="90000"/>
              </a:lnSpc>
            </a:pPr>
            <a:r>
              <a:rPr lang="en-US" sz="1000" b="0" i="0" cap="none" baseline="0">
                <a:solidFill>
                  <a:srgbClr val="035C67"/>
                </a:solidFill>
                <a:effectLst/>
                <a:latin typeface="Arial Narrow" panose="020B0604020202020204" pitchFamily="34" charset="0"/>
                <a:ea typeface="Arial" panose="020B0604020202020204" pitchFamily="34" charset="0"/>
                <a:cs typeface="Arial Narrow" panose="020B0604020202020204" pitchFamily="34" charset="0"/>
              </a:rPr>
              <a:t>Confidential, unpublished property of Evernorth Health Services. Do not duplicate or distribute. Use and distribution limited solely to authorized personnel. © 2024 Evernorth Health Services.</a:t>
            </a:r>
          </a:p>
        </p:txBody>
      </p:sp>
      <p:sp>
        <p:nvSpPr>
          <p:cNvPr id="8" name="Internal Stamp dynamic" descr="{&quot;templafy&quot;:{&quot;id&quot;:&quot;34666e9e-815e-484e-bc9c-583885f7bf43&quot;}}" title="Form.Cigna_Confidentiality.Cigna_confidentiality">
            <a:extLst>
              <a:ext uri="{FF2B5EF4-FFF2-40B4-BE49-F238E27FC236}">
                <a16:creationId xmlns:a16="http://schemas.microsoft.com/office/drawing/2014/main" id="{707EE37D-5AC8-496F-918C-A354CCA61E7B}"/>
              </a:ext>
            </a:extLst>
          </p:cNvPr>
          <p:cNvSpPr/>
          <p:nvPr userDrawn="1"/>
        </p:nvSpPr>
        <p:spPr>
          <a:xfrm>
            <a:off x="3276000" y="6216565"/>
            <a:ext cx="1940400" cy="33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lnSpc>
                <a:spcPct val="90000"/>
              </a:lnSpc>
            </a:pPr>
            <a:r>
              <a:rPr lang="en-US" sz="1000" b="0" i="0" kern="1200" cap="none" baseline="0" noProof="0">
                <a:solidFill>
                  <a:srgbClr val="035C67"/>
                </a:solidFill>
                <a:effectLst/>
                <a:latin typeface="Arial Narrow" panose="020B0604020202020204" pitchFamily="34" charset="0"/>
                <a:ea typeface="+mn-ea"/>
                <a:cs typeface="+mn-cs"/>
              </a:rPr>
              <a:t>For internal use only. Use and distribution limited solely to authorized personnel.</a:t>
            </a:r>
          </a:p>
        </p:txBody>
      </p:sp>
      <p:pic>
        <p:nvPicPr>
          <p:cNvPr id="4" name="Dynamic logo dark mint" descr="{&quot;templafy&quot;:{&quot;id&quot;:&quot;deacaa59-7a37-41d4-b12a-27ecf4f7dda8&quot;}}">
            <a:extLst>
              <a:ext uri="{FF2B5EF4-FFF2-40B4-BE49-F238E27FC236}">
                <a16:creationId xmlns:a16="http://schemas.microsoft.com/office/drawing/2014/main" id="{C6E17872-EEA4-5E7F-12EA-8646BD168B79}"/>
              </a:ext>
            </a:extLst>
          </p:cNvPr>
          <p:cNvPicPr>
            <a:picLocks/>
          </p:cNvPicPr>
          <p:nvPr userDrawn="1"/>
        </p:nvPicPr>
        <p:blipFill>
          <a:blip r:embed="rId99">
            <a:extLst>
              <a:ext uri="{28A0092B-C50C-407E-A947-70E740481C1C}">
                <a14:useLocalDpi xmlns:a14="http://schemas.microsoft.com/office/drawing/2010/main" val="0"/>
              </a:ext>
            </a:extLst>
          </a:blip>
          <a:stretch>
            <a:fillRect/>
          </a:stretch>
        </p:blipFill>
        <p:spPr>
          <a:xfrm>
            <a:off x="346680" y="5882399"/>
            <a:ext cx="2145868" cy="756094"/>
          </a:xfrm>
          <a:prstGeom prst="rect">
            <a:avLst/>
          </a:prstGeom>
        </p:spPr>
      </p:pic>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561374" y="6364800"/>
            <a:ext cx="266400" cy="180000"/>
          </a:xfrm>
          <a:prstGeom prst="rect">
            <a:avLst/>
          </a:prstGeom>
        </p:spPr>
        <p:txBody>
          <a:bodyPr vert="horz" lIns="0" tIns="0" rIns="0" bIns="0" rtlCol="0" anchor="b" anchorCtr="0"/>
          <a:lstStyle>
            <a:lvl1pPr algn="r">
              <a:lnSpc>
                <a:spcPct val="90000"/>
              </a:lnSpc>
              <a:defRPr sz="800" spc="80" baseline="0">
                <a:solidFill>
                  <a:srgbClr val="035C67"/>
                </a:solidFill>
                <a:latin typeface="+mn-lt"/>
              </a:defRPr>
            </a:lvl1pPr>
          </a:lstStyle>
          <a:p>
            <a:fld id="{23AA811B-2EBD-4900-905E-5BE206449611}" type="slidenum">
              <a:rPr lang="en-US" smtClean="0"/>
              <a:pPr/>
              <a:t>‹#›</a:t>
            </a:fld>
            <a:endParaRPr lang="en-US"/>
          </a:p>
        </p:txBody>
      </p:sp>
      <p:sp>
        <p:nvSpPr>
          <p:cNvPr id="11" name="Date Placeholder 10">
            <a:extLst>
              <a:ext uri="{FF2B5EF4-FFF2-40B4-BE49-F238E27FC236}">
                <a16:creationId xmlns:a16="http://schemas.microsoft.com/office/drawing/2014/main" id="{EC4DAAA9-F5C8-81C3-5385-47B49E0F77CC}"/>
              </a:ext>
            </a:extLst>
          </p:cNvPr>
          <p:cNvSpPr>
            <a:spLocks noGrp="1"/>
          </p:cNvSpPr>
          <p:nvPr>
            <p:ph type="dt" sz="half" idx="2"/>
          </p:nvPr>
        </p:nvSpPr>
        <p:spPr>
          <a:xfrm>
            <a:off x="10630800" y="6364800"/>
            <a:ext cx="691200" cy="180000"/>
          </a:xfrm>
          <a:prstGeom prst="rect">
            <a:avLst/>
          </a:prstGeom>
        </p:spPr>
        <p:txBody>
          <a:bodyPr vert="horz" lIns="0" tIns="0" rIns="0" bIns="0" rtlCol="0" anchor="b" anchorCtr="0"/>
          <a:lstStyle>
            <a:lvl1pPr algn="r">
              <a:defRPr sz="800">
                <a:solidFill>
                  <a:srgbClr val="035C67"/>
                </a:solidFill>
              </a:defRPr>
            </a:lvl1pPr>
          </a:lstStyle>
          <a:p>
            <a:fld id="{B118041E-2DAD-480C-AEE4-E661A097CFE4}" type="datetime1">
              <a:rPr lang="en-US" smtClean="0"/>
              <a:t>5/12/2026</a:t>
            </a:fld>
            <a:endParaRPr lang="en-US"/>
          </a:p>
        </p:txBody>
      </p:sp>
    </p:spTree>
    <p:extLst>
      <p:ext uri="{BB962C8B-B14F-4D97-AF65-F5344CB8AC3E}">
        <p14:creationId xmlns:p14="http://schemas.microsoft.com/office/powerpoint/2010/main" val="13020011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Lst>
  <p:hf hdr="0" ftr="0"/>
  <p:txStyles>
    <p:titleStyle>
      <a:lvl1pPr algn="l" defTabSz="914400" rtl="0" eaLnBrk="1" latinLnBrk="0" hangingPunct="1">
        <a:lnSpc>
          <a:spcPct val="95000"/>
        </a:lnSpc>
        <a:spcBef>
          <a:spcPct val="0"/>
        </a:spcBef>
        <a:buNone/>
        <a:defRPr sz="2800" b="1" kern="1200">
          <a:solidFill>
            <a:schemeClr val="accent3"/>
          </a:solidFill>
          <a:latin typeface="+mj-lt"/>
          <a:ea typeface="+mj-ea"/>
          <a:cs typeface="+mj-cs"/>
        </a:defRPr>
      </a:lvl1pPr>
    </p:titleStyle>
    <p:bodyStyle>
      <a:lvl1pPr marL="180000" indent="-180000" algn="l" defTabSz="914400" rtl="0" eaLnBrk="1" latinLnBrk="0" hangingPunct="1">
        <a:lnSpc>
          <a:spcPct val="120000"/>
        </a:lnSpc>
        <a:spcBef>
          <a:spcPts val="0"/>
        </a:spcBef>
        <a:spcAft>
          <a:spcPts val="300"/>
        </a:spcAft>
        <a:buSzPct val="90000"/>
        <a:buFont typeface="Arial" panose="020B0604020202020204" pitchFamily="34" charset="0"/>
        <a:buChar char="+"/>
        <a:defRPr sz="1400" kern="1200">
          <a:solidFill>
            <a:schemeClr val="tx2"/>
          </a:solidFill>
          <a:latin typeface="+mn-lt"/>
          <a:ea typeface="+mn-ea"/>
          <a:cs typeface="+mn-cs"/>
        </a:defRPr>
      </a:lvl1pPr>
      <a:lvl2pPr marL="360000" indent="-180000" algn="l" defTabSz="914400" rtl="0" eaLnBrk="1" latinLnBrk="0" hangingPunct="1">
        <a:lnSpc>
          <a:spcPct val="120000"/>
        </a:lnSpc>
        <a:spcBef>
          <a:spcPts val="0"/>
        </a:spcBef>
        <a:spcAft>
          <a:spcPts val="300"/>
        </a:spcAft>
        <a:buSzPct val="90000"/>
        <a:buFont typeface="Arial" panose="020B0604020202020204"/>
        <a:buChar char="+"/>
        <a:defRPr sz="1400" kern="1200">
          <a:solidFill>
            <a:schemeClr val="tx2"/>
          </a:solidFill>
          <a:latin typeface="+mn-lt"/>
          <a:ea typeface="+mn-ea"/>
          <a:cs typeface="+mn-cs"/>
        </a:defRPr>
      </a:lvl2pPr>
      <a:lvl3pPr marL="540000" indent="-180000" algn="l" defTabSz="914400" rtl="0" eaLnBrk="1" latinLnBrk="0" hangingPunct="1">
        <a:lnSpc>
          <a:spcPct val="120000"/>
        </a:lnSpc>
        <a:spcBef>
          <a:spcPts val="0"/>
        </a:spcBef>
        <a:spcAft>
          <a:spcPts val="300"/>
        </a:spcAft>
        <a:buSzPct val="90000"/>
        <a:buFont typeface="Arial" panose="020B0604020202020204" pitchFamily="34" charset="0"/>
        <a:buChar char="+"/>
        <a:defRPr sz="1400" kern="1200">
          <a:solidFill>
            <a:schemeClr val="tx2"/>
          </a:solidFill>
          <a:latin typeface="+mn-lt"/>
          <a:ea typeface="+mn-ea"/>
          <a:cs typeface="+mn-cs"/>
        </a:defRPr>
      </a:lvl3pPr>
      <a:lvl4pPr marL="0" indent="0" algn="l" defTabSz="914400" rtl="0" eaLnBrk="1" latinLnBrk="0" hangingPunct="1">
        <a:lnSpc>
          <a:spcPct val="120000"/>
        </a:lnSpc>
        <a:spcBef>
          <a:spcPts val="1800"/>
        </a:spcBef>
        <a:spcAft>
          <a:spcPts val="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1200"/>
        </a:spcAft>
        <a:buFont typeface="Arial" panose="020B0604020202020204" pitchFamily="34" charset="0"/>
        <a:buChar char="​"/>
        <a:tabLst/>
        <a:defRPr sz="1400" kern="1200">
          <a:solidFill>
            <a:schemeClr val="tx2"/>
          </a:solidFill>
          <a:latin typeface="+mn-lt"/>
          <a:ea typeface="+mn-ea"/>
          <a:cs typeface="+mn-cs"/>
        </a:defRPr>
      </a:lvl5pPr>
      <a:lvl6pPr marL="108000" indent="-108000" algn="l" defTabSz="914400" rtl="0" eaLnBrk="1" latinLnBrk="0" hangingPunct="1">
        <a:lnSpc>
          <a:spcPct val="9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6pPr>
      <a:lvl7pPr marL="0" indent="0" algn="l" defTabSz="914400" rtl="0" eaLnBrk="1" latinLnBrk="0" hangingPunct="1">
        <a:lnSpc>
          <a:spcPct val="9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9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86000"/>
        </a:lnSpc>
        <a:spcBef>
          <a:spcPts val="300"/>
        </a:spcBef>
        <a:spcAft>
          <a:spcPts val="0"/>
        </a:spcAft>
        <a:buFont typeface="Arial" panose="020B0604020202020204" pitchFamily="34" charset="0"/>
        <a:buChar char="​"/>
        <a:defRPr sz="6000" b="1" kern="1200" spc="-150" baseline="0">
          <a:solidFill>
            <a:schemeClr val="tx2"/>
          </a:solidFill>
          <a:latin typeface="Arial Black" panose="020B0A04020102020204" pitchFamily="34"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p15:clr>
            <a:srgbClr val="F26B43"/>
          </p15:clr>
        </p15:guide>
        <p15:guide id="2" pos="725">
          <p15:clr>
            <a:srgbClr val="A4A3A4"/>
          </p15:clr>
        </p15:guide>
        <p15:guide id="3" orient="horz" pos="185">
          <p15:clr>
            <a:srgbClr val="F26B43"/>
          </p15:clr>
        </p15:guide>
        <p15:guide id="4" orient="horz" pos="4107">
          <p15:clr>
            <a:srgbClr val="A4A3A4"/>
          </p15:clr>
        </p15:guide>
        <p15:guide id="6" pos="4394">
          <p15:clr>
            <a:srgbClr val="A4A3A4"/>
          </p15:clr>
        </p15:guide>
        <p15:guide id="7" pos="839">
          <p15:clr>
            <a:srgbClr val="A4A3A4"/>
          </p15:clr>
        </p15:guide>
        <p15:guide id="9" pos="2673">
          <p15:clr>
            <a:srgbClr val="A4A3A4"/>
          </p15:clr>
        </p15:guide>
        <p15:guide id="10" pos="3172">
          <p15:clr>
            <a:srgbClr val="A4A3A4"/>
          </p15:clr>
        </p15:guide>
        <p15:guide id="11" pos="6229">
          <p15:clr>
            <a:srgbClr val="A4A3A4"/>
          </p15:clr>
        </p15:guide>
        <p15:guide id="13" pos="6840">
          <p15:clr>
            <a:srgbClr val="A4A3A4"/>
          </p15:clr>
        </p15:guide>
        <p15:guide id="16" pos="5120">
          <p15:clr>
            <a:srgbClr val="A4A3A4"/>
          </p15:clr>
        </p15:guide>
        <p15:guide id="17" pos="3285">
          <p15:clr>
            <a:srgbClr val="A4A3A4"/>
          </p15:clr>
        </p15:guide>
        <p15:guide id="18" pos="3784">
          <p15:clr>
            <a:srgbClr val="A4A3A4"/>
          </p15:clr>
        </p15:guide>
        <p15:guide id="20" pos="1948">
          <p15:clr>
            <a:srgbClr val="A4A3A4"/>
          </p15:clr>
        </p15:guide>
        <p15:guide id="21" pos="6952">
          <p15:clr>
            <a:srgbClr val="A4A3A4"/>
          </p15:clr>
        </p15:guide>
        <p15:guide id="22" pos="7451">
          <p15:clr>
            <a:srgbClr val="F26B43"/>
          </p15:clr>
        </p15:guide>
        <p15:guide id="23" pos="2062">
          <p15:clr>
            <a:srgbClr val="A4A3A4"/>
          </p15:clr>
        </p15:guide>
        <p15:guide id="24" pos="2560">
          <p15:clr>
            <a:srgbClr val="A4A3A4"/>
          </p15:clr>
        </p15:guide>
        <p15:guide id="26" pos="6342">
          <p15:clr>
            <a:srgbClr val="A4A3A4"/>
          </p15:clr>
        </p15:guide>
        <p15:guide id="28" pos="5007">
          <p15:clr>
            <a:srgbClr val="A4A3A4"/>
          </p15:clr>
        </p15:guide>
        <p15:guide id="29" pos="4509">
          <p15:clr>
            <a:srgbClr val="A4A3A4"/>
          </p15:clr>
        </p15:guide>
        <p15:guide id="30" pos="3897">
          <p15:clr>
            <a:srgbClr val="A4A3A4"/>
          </p15:clr>
        </p15:guide>
        <p15:guide id="31" pos="5731">
          <p15:clr>
            <a:srgbClr val="A4A3A4"/>
          </p15:clr>
        </p15:guide>
        <p15:guide id="32" pos="5617">
          <p15:clr>
            <a:srgbClr val="A4A3A4"/>
          </p15:clr>
        </p15:guide>
        <p15:guide id="33" pos="1337">
          <p15:clr>
            <a:srgbClr val="A4A3A4"/>
          </p15:clr>
        </p15:guide>
        <p15:guide id="34" pos="1451">
          <p15:clr>
            <a:srgbClr val="A4A3A4"/>
          </p15:clr>
        </p15:guide>
        <p15:guide id="35" orient="horz" pos="36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504A7-5855-84F8-CE79-9E50AA273763}"/>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BC4448C-E62B-6884-2616-366CD0F3868B}"/>
              </a:ext>
            </a:extLst>
          </p:cNvPr>
          <p:cNvGraphicFramePr>
            <a:graphicFrameLocks noChangeAspect="1"/>
          </p:cNvGraphicFramePr>
          <p:nvPr>
            <p:custDataLst>
              <p:tags r:id="rId1"/>
            </p:custDataLst>
            <p:extLst>
              <p:ext uri="{D42A27DB-BD31-4B8C-83A1-F6EECF244321}">
                <p14:modId xmlns:p14="http://schemas.microsoft.com/office/powerpoint/2010/main" val="400293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4" imgH="425" progId="TCLayout.ActiveDocument.1">
                  <p:embed/>
                </p:oleObj>
              </mc:Choice>
              <mc:Fallback>
                <p:oleObj name="think-cell Slide" r:id="rId5" imgW="424" imgH="425" progId="TCLayout.ActiveDocument.1">
                  <p:embed/>
                  <p:pic>
                    <p:nvPicPr>
                      <p:cNvPr id="20" name="think-cell data - do not delete" hidden="1">
                        <a:extLst>
                          <a:ext uri="{FF2B5EF4-FFF2-40B4-BE49-F238E27FC236}">
                            <a16:creationId xmlns:a16="http://schemas.microsoft.com/office/drawing/2014/main" id="{3BC4448C-E62B-6884-2616-366CD0F386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Group 349">
            <a:extLst>
              <a:ext uri="{FF2B5EF4-FFF2-40B4-BE49-F238E27FC236}">
                <a16:creationId xmlns:a16="http://schemas.microsoft.com/office/drawing/2014/main" id="{3576F544-B1C7-48EF-07A7-5CBCCB7F3577}"/>
              </a:ext>
            </a:extLst>
          </p:cNvPr>
          <p:cNvGraphicFramePr>
            <a:graphicFrameLocks noGrp="1"/>
          </p:cNvGraphicFramePr>
          <p:nvPr>
            <p:custDataLst>
              <p:tags r:id="rId2"/>
            </p:custDataLst>
            <p:extLst>
              <p:ext uri="{D42A27DB-BD31-4B8C-83A1-F6EECF244321}">
                <p14:modId xmlns:p14="http://schemas.microsoft.com/office/powerpoint/2010/main" val="3959003246"/>
              </p:ext>
            </p:extLst>
          </p:nvPr>
        </p:nvGraphicFramePr>
        <p:xfrm>
          <a:off x="145473" y="970308"/>
          <a:ext cx="11897362" cy="4620738"/>
        </p:xfrm>
        <a:graphic>
          <a:graphicData uri="http://schemas.openxmlformats.org/drawingml/2006/table">
            <a:tbl>
              <a:tblPr/>
              <a:tblGrid>
                <a:gridCol w="1480192">
                  <a:extLst>
                    <a:ext uri="{9D8B030D-6E8A-4147-A177-3AD203B41FA5}">
                      <a16:colId xmlns:a16="http://schemas.microsoft.com/office/drawing/2014/main" val="3845491436"/>
                    </a:ext>
                  </a:extLst>
                </a:gridCol>
                <a:gridCol w="1041717">
                  <a:extLst>
                    <a:ext uri="{9D8B030D-6E8A-4147-A177-3AD203B41FA5}">
                      <a16:colId xmlns:a16="http://schemas.microsoft.com/office/drawing/2014/main" val="20010"/>
                    </a:ext>
                  </a:extLst>
                </a:gridCol>
                <a:gridCol w="1041717">
                  <a:extLst>
                    <a:ext uri="{9D8B030D-6E8A-4147-A177-3AD203B41FA5}">
                      <a16:colId xmlns:a16="http://schemas.microsoft.com/office/drawing/2014/main" val="3826412269"/>
                    </a:ext>
                  </a:extLst>
                </a:gridCol>
                <a:gridCol w="1041717">
                  <a:extLst>
                    <a:ext uri="{9D8B030D-6E8A-4147-A177-3AD203B41FA5}">
                      <a16:colId xmlns:a16="http://schemas.microsoft.com/office/drawing/2014/main" val="2333743244"/>
                    </a:ext>
                  </a:extLst>
                </a:gridCol>
                <a:gridCol w="1041717">
                  <a:extLst>
                    <a:ext uri="{9D8B030D-6E8A-4147-A177-3AD203B41FA5}">
                      <a16:colId xmlns:a16="http://schemas.microsoft.com/office/drawing/2014/main" val="1150311778"/>
                    </a:ext>
                  </a:extLst>
                </a:gridCol>
                <a:gridCol w="1041717">
                  <a:extLst>
                    <a:ext uri="{9D8B030D-6E8A-4147-A177-3AD203B41FA5}">
                      <a16:colId xmlns:a16="http://schemas.microsoft.com/office/drawing/2014/main" val="1141023644"/>
                    </a:ext>
                  </a:extLst>
                </a:gridCol>
                <a:gridCol w="1041717">
                  <a:extLst>
                    <a:ext uri="{9D8B030D-6E8A-4147-A177-3AD203B41FA5}">
                      <a16:colId xmlns:a16="http://schemas.microsoft.com/office/drawing/2014/main" val="2256573156"/>
                    </a:ext>
                  </a:extLst>
                </a:gridCol>
                <a:gridCol w="1041717">
                  <a:extLst>
                    <a:ext uri="{9D8B030D-6E8A-4147-A177-3AD203B41FA5}">
                      <a16:colId xmlns:a16="http://schemas.microsoft.com/office/drawing/2014/main" val="3327886811"/>
                    </a:ext>
                  </a:extLst>
                </a:gridCol>
                <a:gridCol w="1041717">
                  <a:extLst>
                    <a:ext uri="{9D8B030D-6E8A-4147-A177-3AD203B41FA5}">
                      <a16:colId xmlns:a16="http://schemas.microsoft.com/office/drawing/2014/main" val="3877285291"/>
                    </a:ext>
                  </a:extLst>
                </a:gridCol>
                <a:gridCol w="1041717">
                  <a:extLst>
                    <a:ext uri="{9D8B030D-6E8A-4147-A177-3AD203B41FA5}">
                      <a16:colId xmlns:a16="http://schemas.microsoft.com/office/drawing/2014/main" val="49630275"/>
                    </a:ext>
                  </a:extLst>
                </a:gridCol>
                <a:gridCol w="1041717">
                  <a:extLst>
                    <a:ext uri="{9D8B030D-6E8A-4147-A177-3AD203B41FA5}">
                      <a16:colId xmlns:a16="http://schemas.microsoft.com/office/drawing/2014/main" val="1136230371"/>
                    </a:ext>
                  </a:extLst>
                </a:gridCol>
              </a:tblGrid>
              <a:tr h="378337">
                <a:tc>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2026</a:t>
                      </a:r>
                      <a:endParaRPr kumimoji="0" lang="en-US" sz="900" b="1" i="0" u="none" strike="noStrike" cap="none" normalizeH="0" baseline="0">
                        <a:ln>
                          <a:noFill/>
                        </a:ln>
                        <a:solidFill>
                          <a:schemeClr val="tx1"/>
                        </a:solidFill>
                        <a:effectLst/>
                        <a:latin typeface="+mn-lt"/>
                        <a:ea typeface="MS PGothic"/>
                        <a:cs typeface="Arial"/>
                      </a:endParaRPr>
                    </a:p>
                  </a:txBody>
                  <a:tcPr marL="18288" marR="18288" marT="18011" marB="1801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2027</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hMerge="1">
                  <a:txBody>
                    <a:bodyPr/>
                    <a:lstStyle/>
                    <a:p>
                      <a:endParaRPr lang="en-US"/>
                    </a:p>
                  </a:txBody>
                  <a:tcPr>
                    <a:lnL w="127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2028</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hMerge="1">
                  <a:txBody>
                    <a:bodyPr/>
                    <a:lstStyle/>
                    <a:p>
                      <a:endParaRPr lang="en-US"/>
                    </a:p>
                  </a:txBody>
                  <a:tcPr/>
                </a:tc>
                <a:extLst>
                  <a:ext uri="{0D108BD9-81ED-4DB2-BD59-A6C34878D82A}">
                    <a16:rowId xmlns:a16="http://schemas.microsoft.com/office/drawing/2014/main" val="10001"/>
                  </a:ext>
                </a:extLst>
              </a:tr>
              <a:tr h="378337">
                <a:tc>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1</a:t>
                      </a:r>
                    </a:p>
                  </a:txBody>
                  <a:tcPr marL="18288" marR="18288" marT="18011" marB="1801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2</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3</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4</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1</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2</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3</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4</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1</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ase" latinLnBrk="0" hangingPunct="0">
                        <a:lnSpc>
                          <a:spcPct val="90000"/>
                        </a:lnSpc>
                        <a:spcBef>
                          <a:spcPct val="90000"/>
                        </a:spcBef>
                        <a:spcAft>
                          <a:spcPts val="200"/>
                        </a:spcAft>
                        <a:buClrTx/>
                        <a:buSzTx/>
                        <a:buFontTx/>
                        <a:buNone/>
                        <a:tabLst/>
                        <a:defRPr/>
                      </a:pPr>
                      <a:r>
                        <a:rPr kumimoji="0" lang="en-US" sz="900" b="1" i="0" u="none" strike="noStrike" cap="none" normalizeH="0" baseline="0">
                          <a:ln>
                            <a:noFill/>
                          </a:ln>
                          <a:solidFill>
                            <a:schemeClr val="bg1"/>
                          </a:solidFill>
                          <a:effectLst/>
                          <a:latin typeface="+mn-lt"/>
                          <a:ea typeface="MS PGothic"/>
                          <a:cs typeface="Arial"/>
                        </a:rPr>
                        <a:t>Q2</a:t>
                      </a:r>
                    </a:p>
                  </a:txBody>
                  <a:tcPr marL="18288" marR="18288" marT="18011" marB="1801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3234595746"/>
                  </a:ext>
                </a:extLst>
              </a:tr>
              <a:tr h="480708">
                <a:tc>
                  <a:txBody>
                    <a:bodyPr/>
                    <a:lstStyle/>
                    <a:p>
                      <a:pPr marL="0" marR="0" algn="r">
                        <a:buNone/>
                      </a:pPr>
                      <a:r>
                        <a:rPr lang="en-US" sz="1050" b="1">
                          <a:solidFill>
                            <a:schemeClr val="bg1"/>
                          </a:solidFill>
                          <a:effectLst/>
                        </a:rPr>
                        <a:t>Billing Files</a:t>
                      </a:r>
                      <a:endParaRPr lang="en-US" sz="1100" b="1">
                        <a:solidFill>
                          <a:schemeClr val="bg1"/>
                        </a:solidFill>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9525"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3"/>
                    </a:solidFill>
                  </a:tcPr>
                </a:tc>
                <a:tc gridSpan="4">
                  <a:txBody>
                    <a:bodyPr/>
                    <a:lstStyle/>
                    <a:p>
                      <a:pPr marL="0" marR="0" lvl="0" indent="0" algn="ctr" defTabSz="914400" rtl="0" eaLnBrk="0" fontAlgn="base" latinLnBrk="0" hangingPunct="0">
                        <a:lnSpc>
                          <a:spcPct val="90000"/>
                        </a:lnSpc>
                        <a:spcBef>
                          <a:spcPts val="400"/>
                        </a:spcBef>
                        <a:spcAft>
                          <a:spcPts val="0"/>
                        </a:spcAft>
                        <a:buClrTx/>
                        <a:buSzTx/>
                        <a:buFontTx/>
                        <a:buNone/>
                        <a:tabLst/>
                      </a:pPr>
                      <a:endParaRPr kumimoji="0" lang="en-US" sz="1100" b="0" i="0" u="none" strike="noStrike" cap="none" normalizeH="0" baseline="0">
                        <a:ln>
                          <a:noFill/>
                        </a:ln>
                        <a:solidFill>
                          <a:schemeClr val="accent1"/>
                        </a:solidFill>
                        <a:effectLst/>
                        <a:latin typeface="+mn-lt"/>
                        <a:ea typeface="MS PGothic"/>
                        <a:cs typeface="Tahoma" pitchFamily="34" charset="0"/>
                      </a:endParaRPr>
                    </a:p>
                  </a:txBody>
                  <a:tcPr marL="18288" marR="18288" marT="27453" marB="27453" anchor="ctr" horzOverflow="overflow">
                    <a:lnL w="1270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0" fontAlgn="base" latinLnBrk="0" hangingPunct="0">
                        <a:lnSpc>
                          <a:spcPct val="90000"/>
                        </a:lnSpc>
                        <a:spcBef>
                          <a:spcPts val="400"/>
                        </a:spcBef>
                        <a:spcAft>
                          <a:spcPts val="0"/>
                        </a:spcAft>
                        <a:buClrTx/>
                        <a:buSzTx/>
                        <a:buFontTx/>
                        <a:buNone/>
                        <a:tabLst/>
                      </a:pPr>
                      <a:endParaRPr kumimoji="0" lang="en-US" sz="1100" b="0" i="0" u="none" strike="noStrike" cap="none" normalizeH="0" baseline="0">
                        <a:ln>
                          <a:noFill/>
                        </a:ln>
                        <a:solidFill>
                          <a:schemeClr val="accent1"/>
                        </a:solidFill>
                        <a:effectLst/>
                        <a:latin typeface="+mn-lt"/>
                        <a:ea typeface="MS PGothic"/>
                        <a:cs typeface="Tahoma" pitchFamily="34" charset="0"/>
                      </a:endParaRPr>
                    </a:p>
                  </a:txBody>
                  <a:tcPr marL="18288" marR="18288" marT="27453" marB="27453"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lnL w="6350" cap="flat" cmpd="sng" algn="ctr">
                      <a:solidFill>
                        <a:schemeClr val="bg1">
                          <a:lumMod val="85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0" fontAlgn="base" latinLnBrk="0" hangingPunct="0">
                        <a:lnSpc>
                          <a:spcPct val="90000"/>
                        </a:lnSpc>
                        <a:spcBef>
                          <a:spcPts val="400"/>
                        </a:spcBef>
                        <a:spcAft>
                          <a:spcPts val="0"/>
                        </a:spcAft>
                        <a:buClrTx/>
                        <a:buSzTx/>
                        <a:buFontTx/>
                        <a:buNone/>
                        <a:tabLst/>
                      </a:pPr>
                      <a:endParaRPr kumimoji="0" lang="en-US" sz="1100" b="0" i="0" u="none" strike="noStrike" cap="none" normalizeH="0" baseline="0">
                        <a:ln>
                          <a:noFill/>
                        </a:ln>
                        <a:solidFill>
                          <a:schemeClr val="accent1"/>
                        </a:solidFill>
                        <a:effectLst/>
                        <a:latin typeface="+mn-lt"/>
                        <a:ea typeface="MS PGothic"/>
                        <a:cs typeface="Tahoma" pitchFamily="34" charset="0"/>
                      </a:endParaRPr>
                    </a:p>
                  </a:txBody>
                  <a:tcPr marL="18288" marR="18288" marT="27453" marB="27453" anchor="ctr" horzOverflow="overflow">
                    <a:lnL w="635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extLst>
                  <a:ext uri="{0D108BD9-81ED-4DB2-BD59-A6C34878D82A}">
                    <a16:rowId xmlns:a16="http://schemas.microsoft.com/office/drawing/2014/main" val="3555079850"/>
                  </a:ext>
                </a:extLst>
              </a:tr>
              <a:tr h="480708">
                <a:tc>
                  <a:txBody>
                    <a:bodyPr/>
                    <a:lstStyle/>
                    <a:p>
                      <a:pPr marL="0" marR="0" algn="r">
                        <a:buNone/>
                      </a:pPr>
                      <a:r>
                        <a:rPr lang="en-US" sz="1050" b="1">
                          <a:solidFill>
                            <a:schemeClr val="bg1"/>
                          </a:solidFill>
                          <a:effectLst/>
                        </a:rPr>
                        <a:t>Eligibility Files</a:t>
                      </a:r>
                      <a:endParaRPr lang="en-US" sz="1100" b="1">
                        <a:solidFill>
                          <a:schemeClr val="bg1"/>
                        </a:solidFill>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9525"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3"/>
                    </a:solidFill>
                  </a:tcPr>
                </a:tc>
                <a:tc gridSpan="4">
                  <a:txBody>
                    <a:bodyPr/>
                    <a:lstStyle/>
                    <a:p>
                      <a:pPr marL="0" marR="0" lvl="0" indent="0" algn="ctr" defTabSz="914400" rtl="0" eaLnBrk="0" fontAlgn="base" latinLnBrk="0" hangingPunct="0">
                        <a:lnSpc>
                          <a:spcPct val="90000"/>
                        </a:lnSpc>
                        <a:spcBef>
                          <a:spcPts val="400"/>
                        </a:spcBef>
                        <a:spcAft>
                          <a:spcPts val="0"/>
                        </a:spcAft>
                        <a:buClrTx/>
                        <a:buSzTx/>
                        <a:buFontTx/>
                        <a:buNone/>
                        <a:tabLst/>
                      </a:pPr>
                      <a:endParaRPr kumimoji="0" lang="en-US" sz="1100" b="0" i="0" u="none" strike="noStrike" cap="none" normalizeH="0" baseline="0">
                        <a:ln>
                          <a:noFill/>
                        </a:ln>
                        <a:solidFill>
                          <a:schemeClr val="accent1"/>
                        </a:solidFill>
                        <a:effectLst/>
                        <a:latin typeface="+mn-lt"/>
                        <a:ea typeface="MS PGothic"/>
                        <a:cs typeface="Tahoma" pitchFamily="34" charset="0"/>
                      </a:endParaRPr>
                    </a:p>
                  </a:txBody>
                  <a:tcPr marL="18288" marR="18288" marT="27453" marB="27453" anchor="ctr" horzOverflow="overflow">
                    <a:lnL w="1270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0" fontAlgn="base" latinLnBrk="0" hangingPunct="0">
                        <a:lnSpc>
                          <a:spcPct val="90000"/>
                        </a:lnSpc>
                        <a:spcBef>
                          <a:spcPts val="400"/>
                        </a:spcBef>
                        <a:spcAft>
                          <a:spcPts val="0"/>
                        </a:spcAft>
                        <a:buClrTx/>
                        <a:buSzTx/>
                        <a:buFontTx/>
                        <a:buNone/>
                        <a:tabLst/>
                      </a:pPr>
                      <a:endParaRPr kumimoji="0" lang="en-US" sz="1100" b="0" i="0" u="none" strike="noStrike" cap="none" normalizeH="0" baseline="0">
                        <a:ln>
                          <a:noFill/>
                        </a:ln>
                        <a:solidFill>
                          <a:schemeClr val="accent1"/>
                        </a:solidFill>
                        <a:effectLst/>
                        <a:latin typeface="+mn-lt"/>
                        <a:ea typeface="MS PGothic"/>
                        <a:cs typeface="Tahoma" pitchFamily="34" charset="0"/>
                      </a:endParaRPr>
                    </a:p>
                  </a:txBody>
                  <a:tcPr marL="18288" marR="18288" marT="27453" marB="27453"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lnL w="6350" cap="flat" cmpd="sng" algn="ctr">
                      <a:solidFill>
                        <a:schemeClr val="bg1">
                          <a:lumMod val="85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0" fontAlgn="base" latinLnBrk="0" hangingPunct="0">
                        <a:lnSpc>
                          <a:spcPct val="90000"/>
                        </a:lnSpc>
                        <a:spcBef>
                          <a:spcPts val="400"/>
                        </a:spcBef>
                        <a:spcAft>
                          <a:spcPts val="0"/>
                        </a:spcAft>
                        <a:buClrTx/>
                        <a:buSzTx/>
                        <a:buFontTx/>
                        <a:buNone/>
                        <a:tabLst/>
                      </a:pPr>
                      <a:endParaRPr kumimoji="0" lang="en-US" sz="1100" b="0" i="0" u="none" strike="noStrike" cap="none" normalizeH="0" baseline="0">
                        <a:ln>
                          <a:noFill/>
                        </a:ln>
                        <a:solidFill>
                          <a:schemeClr val="accent1"/>
                        </a:solidFill>
                        <a:effectLst/>
                        <a:latin typeface="+mn-lt"/>
                        <a:ea typeface="MS PGothic"/>
                        <a:cs typeface="Tahoma" pitchFamily="34" charset="0"/>
                      </a:endParaRPr>
                    </a:p>
                  </a:txBody>
                  <a:tcPr marL="18288" marR="18288" marT="27453" marB="27453" anchor="ctr" horzOverflow="overflow">
                    <a:lnL w="635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extLst>
                  <a:ext uri="{0D108BD9-81ED-4DB2-BD59-A6C34878D82A}">
                    <a16:rowId xmlns:a16="http://schemas.microsoft.com/office/drawing/2014/main" val="2293977845"/>
                  </a:ext>
                </a:extLst>
              </a:tr>
              <a:tr h="480708">
                <a:tc>
                  <a:txBody>
                    <a:bodyPr/>
                    <a:lstStyle/>
                    <a:p>
                      <a:pPr marL="0" marR="0" algn="r">
                        <a:buNone/>
                      </a:pPr>
                      <a:r>
                        <a:rPr lang="en-US" sz="1050" b="1">
                          <a:solidFill>
                            <a:schemeClr val="bg1"/>
                          </a:solidFill>
                          <a:effectLst/>
                        </a:rPr>
                        <a:t>Benefits</a:t>
                      </a:r>
                      <a:endParaRPr lang="en-US" sz="1100" b="1">
                        <a:solidFill>
                          <a:schemeClr val="bg1"/>
                        </a:solidFill>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9525" anchor="ctr">
                    <a:lnL w="12700" cap="flat" cmpd="sng" algn="ctr">
                      <a:solidFill>
                        <a:schemeClr val="tx1"/>
                      </a:solidFill>
                      <a:prstDash val="solid"/>
                      <a:round/>
                      <a:headEnd type="none" w="med" len="med"/>
                      <a:tailEnd type="none" w="med" len="med"/>
                    </a:lnL>
                    <a:lnR w="12700">
                      <a:solidFill>
                        <a:schemeClr val="bg1">
                          <a:lumMod val="85000"/>
                        </a:schemeClr>
                      </a:solidFill>
                    </a:lnR>
                    <a:lnT w="12700">
                      <a:solidFill>
                        <a:schemeClr val="bg1">
                          <a:lumMod val="85000"/>
                        </a:schemeClr>
                      </a:solidFill>
                    </a:lnT>
                    <a:lnB w="12700" cap="flat" cmpd="sng" algn="ctr">
                      <a:solidFill>
                        <a:schemeClr val="bg1">
                          <a:lumMod val="85000"/>
                        </a:schemeClr>
                      </a:solidFill>
                      <a:prstDash val="solid"/>
                      <a:round/>
                      <a:headEnd type="none" w="med" len="med"/>
                      <a:tailEnd type="none" w="med" len="med"/>
                    </a:lnB>
                    <a:lnTlToBr w="0">
                      <a:noFill/>
                    </a:lnTlToBr>
                    <a:lnBlToTr w="0">
                      <a:noFill/>
                    </a:lnBlToTr>
                    <a:solidFill>
                      <a:schemeClr val="accent3"/>
                    </a:solidFill>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12700" cap="flat" cmpd="sng" algn="ctr">
                      <a:solidFill>
                        <a:schemeClr val="bg1">
                          <a:lumMod val="85000"/>
                        </a:schemeClr>
                      </a:solidFill>
                      <a:prstDash val="solid"/>
                      <a:round/>
                      <a:headEnd type="none" w="med" len="med"/>
                      <a:tailEnd type="none" w="med" len="med"/>
                    </a:lnL>
                    <a:lnR w="6350">
                      <a:solidFill>
                        <a:schemeClr val="bg1">
                          <a:lumMod val="85000"/>
                        </a:schemeClr>
                      </a:solid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a:solidFill>
                        <a:schemeClr val="bg1">
                          <a:lumMod val="85000"/>
                        </a:schemeClr>
                      </a:solidFill>
                    </a:lnL>
                    <a:lnR w="6350">
                      <a:solidFill>
                        <a:schemeClr val="bg1">
                          <a:lumMod val="85000"/>
                        </a:schemeClr>
                      </a:solidFill>
                    </a:lnR>
                    <a:lnT w="6350">
                      <a:solidFill>
                        <a:schemeClr val="bg1">
                          <a:lumMod val="85000"/>
                        </a:schemeClr>
                      </a:solidFill>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lnL w="6350" cap="flat" cmpd="sng" algn="ctr">
                      <a:solidFill>
                        <a:schemeClr val="bg1">
                          <a:lumMod val="85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2">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a:solidFill>
                        <a:schemeClr val="bg1">
                          <a:lumMod val="85000"/>
                        </a:schemeClr>
                      </a:solidFill>
                    </a:lnL>
                    <a:lnR w="12700" cap="flat" cmpd="sng" algn="ctr">
                      <a:solidFill>
                        <a:schemeClr val="tx1"/>
                      </a:solidFill>
                      <a:prstDash val="solid"/>
                      <a:round/>
                      <a:headEnd type="none" w="med" len="med"/>
                      <a:tailEnd type="none" w="med" len="med"/>
                    </a:lnR>
                    <a:lnT w="6350">
                      <a:solidFill>
                        <a:schemeClr val="bg1">
                          <a:lumMod val="85000"/>
                        </a:schemeClr>
                      </a:solidFill>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tc>
                <a:extLst>
                  <a:ext uri="{0D108BD9-81ED-4DB2-BD59-A6C34878D82A}">
                    <a16:rowId xmlns:a16="http://schemas.microsoft.com/office/drawing/2014/main" val="3296853185"/>
                  </a:ext>
                </a:extLst>
              </a:tr>
              <a:tr h="480708">
                <a:tc>
                  <a:txBody>
                    <a:bodyPr/>
                    <a:lstStyle/>
                    <a:p>
                      <a:pPr marL="0" marR="0" algn="r">
                        <a:buNone/>
                      </a:pPr>
                      <a:r>
                        <a:rPr lang="en-US" sz="1050" b="1">
                          <a:solidFill>
                            <a:schemeClr val="bg1"/>
                          </a:solidFill>
                          <a:effectLst/>
                        </a:rPr>
                        <a:t>Help Desk / Operational Support</a:t>
                      </a:r>
                      <a:endParaRPr lang="en-US" sz="1100" b="1">
                        <a:solidFill>
                          <a:schemeClr val="bg1"/>
                        </a:solidFill>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9525" anchor="ctr">
                    <a:lnL w="12700" cap="flat" cmpd="sng" algn="ctr">
                      <a:solidFill>
                        <a:schemeClr val="tx1"/>
                      </a:solidFill>
                      <a:prstDash val="solid"/>
                      <a:round/>
                      <a:headEnd type="none" w="med" len="med"/>
                      <a:tailEnd type="none" w="med" len="med"/>
                    </a:lnL>
                    <a:lnR w="12700">
                      <a:solidFill>
                        <a:schemeClr val="bg1">
                          <a:lumMod val="85000"/>
                        </a:schemeClr>
                      </a:solidFill>
                    </a:lnR>
                    <a:lnT w="12700">
                      <a:solidFill>
                        <a:schemeClr val="bg1">
                          <a:lumMod val="85000"/>
                        </a:schemeClr>
                      </a:solidFill>
                    </a:lnT>
                    <a:lnB w="12700" cap="flat" cmpd="sng" algn="ctr">
                      <a:solidFill>
                        <a:schemeClr val="bg1">
                          <a:lumMod val="85000"/>
                        </a:schemeClr>
                      </a:solidFill>
                      <a:prstDash val="solid"/>
                      <a:round/>
                      <a:headEnd type="none" w="med" len="med"/>
                      <a:tailEnd type="none" w="med" len="med"/>
                    </a:lnB>
                    <a:lnTlToBr w="0">
                      <a:noFill/>
                    </a:lnTlToBr>
                    <a:lnBlToTr w="0">
                      <a:noFill/>
                    </a:lnBlToTr>
                    <a:solidFill>
                      <a:schemeClr val="accent3"/>
                    </a:solidFill>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12700" cap="flat" cmpd="sng" algn="ctr">
                      <a:solidFill>
                        <a:schemeClr val="bg1">
                          <a:lumMod val="85000"/>
                        </a:schemeClr>
                      </a:solidFill>
                      <a:prstDash val="solid"/>
                      <a:round/>
                      <a:headEnd type="none" w="med" len="med"/>
                      <a:tailEnd type="none" w="med" len="med"/>
                    </a:lnL>
                    <a:lnR w="6350">
                      <a:solidFill>
                        <a:schemeClr val="bg1">
                          <a:lumMod val="85000"/>
                        </a:schemeClr>
                      </a:solid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a:solidFill>
                        <a:schemeClr val="bg1">
                          <a:lumMod val="85000"/>
                        </a:schemeClr>
                      </a:solidFill>
                    </a:lnL>
                    <a:lnR w="6350">
                      <a:solidFill>
                        <a:schemeClr val="bg1">
                          <a:lumMod val="85000"/>
                        </a:schemeClr>
                      </a:solidFill>
                    </a:lnR>
                    <a:lnT w="6350">
                      <a:solidFill>
                        <a:schemeClr val="bg1">
                          <a:lumMod val="85000"/>
                        </a:schemeClr>
                      </a:solidFill>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lnL w="6350" cap="flat" cmpd="sng" algn="ctr">
                      <a:solidFill>
                        <a:schemeClr val="bg1">
                          <a:lumMod val="85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2">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a:solidFill>
                        <a:schemeClr val="bg1">
                          <a:lumMod val="85000"/>
                        </a:schemeClr>
                      </a:solidFill>
                    </a:lnL>
                    <a:lnR w="12700" cap="flat" cmpd="sng" algn="ctr">
                      <a:solidFill>
                        <a:schemeClr val="tx1"/>
                      </a:solidFill>
                      <a:prstDash val="solid"/>
                      <a:round/>
                      <a:headEnd type="none" w="med" len="med"/>
                      <a:tailEnd type="none" w="med" len="med"/>
                    </a:lnR>
                    <a:lnT w="6350">
                      <a:solidFill>
                        <a:schemeClr val="bg1">
                          <a:lumMod val="85000"/>
                        </a:schemeClr>
                      </a:solidFill>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tc>
                <a:extLst>
                  <a:ext uri="{0D108BD9-81ED-4DB2-BD59-A6C34878D82A}">
                    <a16:rowId xmlns:a16="http://schemas.microsoft.com/office/drawing/2014/main" val="2602637967"/>
                  </a:ext>
                </a:extLst>
              </a:tr>
              <a:tr h="480708">
                <a:tc>
                  <a:txBody>
                    <a:bodyPr/>
                    <a:lstStyle/>
                    <a:p>
                      <a:pPr marL="0" marR="0" algn="r">
                        <a:buNone/>
                      </a:pPr>
                      <a:r>
                        <a:rPr lang="en-US" sz="1050" b="1">
                          <a:solidFill>
                            <a:schemeClr val="bg1"/>
                          </a:solidFill>
                          <a:effectLst/>
                        </a:rPr>
                        <a:t>Reporting</a:t>
                      </a:r>
                      <a:endParaRPr lang="en-US" sz="1100" b="1">
                        <a:solidFill>
                          <a:schemeClr val="bg1"/>
                        </a:solidFill>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9525"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0">
                      <a:noFill/>
                    </a:lnTlToBr>
                    <a:lnBlToTr w="0">
                      <a:noFill/>
                    </a:lnBlToTr>
                    <a:solidFill>
                      <a:schemeClr val="accent3"/>
                    </a:solidFill>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lnL w="6350" cap="flat" cmpd="sng" algn="ctr">
                      <a:solidFill>
                        <a:schemeClr val="bg1">
                          <a:lumMod val="85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2">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tc>
                <a:extLst>
                  <a:ext uri="{0D108BD9-81ED-4DB2-BD59-A6C34878D82A}">
                    <a16:rowId xmlns:a16="http://schemas.microsoft.com/office/drawing/2014/main" val="4244448242"/>
                  </a:ext>
                </a:extLst>
              </a:tr>
              <a:tr h="480708">
                <a:tc>
                  <a:txBody>
                    <a:bodyPr/>
                    <a:lstStyle/>
                    <a:p>
                      <a:pPr marL="0" marR="0" algn="r">
                        <a:buNone/>
                      </a:pPr>
                      <a:r>
                        <a:rPr lang="en-US" sz="1050" b="1">
                          <a:solidFill>
                            <a:schemeClr val="bg1"/>
                          </a:solidFill>
                          <a:effectLst/>
                        </a:rPr>
                        <a:t>Vendor Engagement </a:t>
                      </a:r>
                      <a:endParaRPr lang="en-US" sz="1100" b="1">
                        <a:solidFill>
                          <a:schemeClr val="bg1"/>
                        </a:solidFill>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9525"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a:solidFill>
                        <a:schemeClr val="bg1">
                          <a:lumMod val="85000"/>
                        </a:schemeClr>
                      </a:solidFill>
                    </a:lnT>
                    <a:lnB w="12700" cap="flat" cmpd="sng" algn="ctr">
                      <a:solidFill>
                        <a:schemeClr val="bg1">
                          <a:lumMod val="85000"/>
                        </a:schemeClr>
                      </a:solidFill>
                      <a:prstDash val="solid"/>
                      <a:round/>
                      <a:headEnd type="none" w="med" len="med"/>
                      <a:tailEnd type="none" w="med" len="med"/>
                    </a:lnB>
                    <a:lnTlToBr w="0">
                      <a:noFill/>
                    </a:lnTlToBr>
                    <a:lnBlToTr w="0">
                      <a:noFill/>
                    </a:lnBlToTr>
                    <a:solidFill>
                      <a:schemeClr val="accent3"/>
                    </a:solidFill>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a:solidFill>
                        <a:schemeClr val="bg1">
                          <a:lumMod val="85000"/>
                        </a:schemeClr>
                      </a:solidFill>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lnL w="6350" cap="flat" cmpd="sng" algn="ctr">
                      <a:solidFill>
                        <a:schemeClr val="bg1">
                          <a:lumMod val="85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2">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a:solidFill>
                        <a:schemeClr val="bg1">
                          <a:lumMod val="85000"/>
                        </a:schemeClr>
                      </a:solidFill>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tc>
                <a:extLst>
                  <a:ext uri="{0D108BD9-81ED-4DB2-BD59-A6C34878D82A}">
                    <a16:rowId xmlns:a16="http://schemas.microsoft.com/office/drawing/2014/main" val="1209903414"/>
                  </a:ext>
                </a:extLst>
              </a:tr>
              <a:tr h="480708">
                <a:tc>
                  <a:txBody>
                    <a:bodyPr/>
                    <a:lstStyle/>
                    <a:p>
                      <a:pPr marL="0" marR="0" lvl="0" algn="r">
                        <a:buNone/>
                      </a:pPr>
                      <a:r>
                        <a:rPr lang="en-US" sz="1050" b="1">
                          <a:solidFill>
                            <a:schemeClr val="bg1"/>
                          </a:solidFill>
                          <a:effectLst/>
                        </a:rPr>
                        <a:t>ID cards</a:t>
                      </a:r>
                      <a:endParaRPr lang="en-US"/>
                    </a:p>
                  </a:txBody>
                  <a:tcPr marL="68580" marR="68580" marT="9525" marB="9525"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a:solidFill>
                        <a:schemeClr val="bg1">
                          <a:lumMod val="85000"/>
                        </a:schemeClr>
                      </a:solidFill>
                    </a:lnT>
                    <a:lnB w="12700">
                      <a:solidFill>
                        <a:schemeClr val="bg1">
                          <a:lumMod val="85000"/>
                        </a:schemeClr>
                      </a:solidFill>
                    </a:lnB>
                    <a:lnTlToBr w="0">
                      <a:noFill/>
                    </a:lnTlToBr>
                    <a:lnBlToTr w="0">
                      <a:noFill/>
                    </a:lnBlToTr>
                    <a:solidFill>
                      <a:schemeClr val="accent3"/>
                    </a:solidFill>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dirty="0">
                        <a:ln>
                          <a:noFill/>
                        </a:ln>
                        <a:solidFill>
                          <a:schemeClr val="accent1"/>
                        </a:solidFill>
                        <a:effectLst/>
                        <a:latin typeface="+mn-lt"/>
                        <a:ea typeface="MS PGothic"/>
                        <a:cs typeface="Tahoma"/>
                      </a:endParaRPr>
                    </a:p>
                  </a:txBody>
                  <a:tcPr marL="18288" marR="18288" marT="27453" marB="27453"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a:solidFill>
                        <a:schemeClr val="bg1">
                          <a:lumMod val="85000"/>
                        </a:schemeClr>
                      </a:solidFill>
                    </a:lnT>
                    <a:lnB w="6350">
                      <a:solidFill>
                        <a:schemeClr val="bg1">
                          <a:lumMod val="85000"/>
                        </a:schemeClr>
                      </a:solidFill>
                    </a:lnB>
                    <a:lnTlToBr w="0">
                      <a:noFill/>
                    </a:lnTlToBr>
                    <a:lnBlToTr w="0">
                      <a:noFill/>
                    </a:lnBlToTr>
                    <a:solidFill>
                      <a:schemeClr val="bg1"/>
                    </a:solidFill>
                  </a:tcPr>
                </a:tc>
                <a:tc hMerge="1">
                  <a:txBody>
                    <a:bodyPr/>
                    <a:lstStyle/>
                    <a:p>
                      <a:endParaRPr lang="en-US"/>
                    </a:p>
                  </a:txBody>
                  <a:tcPr>
                    <a:lnL w="6350" cap="flat" cmpd="sng" algn="ctr">
                      <a:solidFill>
                        <a:schemeClr val="bg1">
                          <a:lumMod val="85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2">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a:solidFill>
                        <a:schemeClr val="bg1">
                          <a:lumMod val="85000"/>
                        </a:schemeClr>
                      </a:solidFill>
                    </a:lnT>
                    <a:lnB w="6350">
                      <a:solidFill>
                        <a:schemeClr val="bg1">
                          <a:lumMod val="85000"/>
                        </a:schemeClr>
                      </a:solidFill>
                    </a:lnB>
                    <a:lnTlToBr w="0">
                      <a:noFill/>
                    </a:lnTlToBr>
                    <a:lnBlToTr w="0">
                      <a:noFill/>
                    </a:lnBlToTr>
                    <a:solidFill>
                      <a:schemeClr val="bg1"/>
                    </a:solidFill>
                  </a:tcPr>
                </a:tc>
                <a:tc hMerge="1">
                  <a:txBody>
                    <a:bodyPr/>
                    <a:lstStyle/>
                    <a:p>
                      <a:endParaRPr lang="en-US"/>
                    </a:p>
                  </a:txBody>
                  <a:tcPr/>
                </a:tc>
                <a:extLst>
                  <a:ext uri="{0D108BD9-81ED-4DB2-BD59-A6C34878D82A}">
                    <a16:rowId xmlns:a16="http://schemas.microsoft.com/office/drawing/2014/main" val="1741523017"/>
                  </a:ext>
                </a:extLst>
              </a:tr>
              <a:tr h="480708">
                <a:tc>
                  <a:txBody>
                    <a:bodyPr/>
                    <a:lstStyle/>
                    <a:p>
                      <a:pPr marL="0" lvl="0" algn="r">
                        <a:buNone/>
                      </a:pPr>
                      <a:r>
                        <a:rPr lang="en-US" sz="1050" b="1">
                          <a:solidFill>
                            <a:schemeClr val="bg1"/>
                          </a:solidFill>
                          <a:effectLst/>
                        </a:rPr>
                        <a:t>Claims Adjudication Data Flow (CADF) Testing</a:t>
                      </a:r>
                    </a:p>
                  </a:txBody>
                  <a:tcPr marL="68580" marR="68580" marT="9524" marB="9524" anchor="ctr">
                    <a:lnL w="12700">
                      <a:solidFill>
                        <a:schemeClr val="tx1"/>
                      </a:solidFill>
                    </a:lnL>
                    <a:lnR w="12700">
                      <a:solidFill>
                        <a:schemeClr val="bg1">
                          <a:lumMod val="85000"/>
                        </a:schemeClr>
                      </a:solidFill>
                    </a:lnR>
                    <a:lnT w="12700">
                      <a:solidFill>
                        <a:schemeClr val="bg1">
                          <a:lumMod val="85000"/>
                        </a:schemeClr>
                      </a:solidFill>
                    </a:lnT>
                    <a:lnB w="12700">
                      <a:solidFill>
                        <a:schemeClr val="tx1"/>
                      </a:solidFill>
                    </a:lnB>
                    <a:lnTlToBr w="0">
                      <a:noFill/>
                    </a:lnTlToBr>
                    <a:lnBlToTr w="0">
                      <a:noFill/>
                    </a:lnBlToTr>
                    <a:solidFill>
                      <a:schemeClr val="accent3"/>
                    </a:solidFill>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12700">
                      <a:solidFill>
                        <a:schemeClr val="bg1">
                          <a:lumMod val="85000"/>
                        </a:schemeClr>
                      </a:solidFill>
                    </a:lnL>
                    <a:lnR w="6350">
                      <a:solidFill>
                        <a:schemeClr val="bg1">
                          <a:lumMod val="85000"/>
                        </a:schemeClr>
                      </a:solidFill>
                    </a:lnR>
                    <a:lnT w="6350">
                      <a:solidFill>
                        <a:schemeClr val="bg1">
                          <a:lumMod val="85000"/>
                        </a:schemeClr>
                      </a:solidFill>
                    </a:lnT>
                    <a:lnB w="12700">
                      <a:solidFill>
                        <a:schemeClr val="tx1"/>
                      </a:solidFill>
                    </a:lnB>
                    <a:lnTlToBr w="0">
                      <a:noFill/>
                    </a:lnTlToBr>
                    <a:lnBlToTr w="0">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a:ln>
                          <a:noFill/>
                        </a:ln>
                        <a:solidFill>
                          <a:schemeClr val="accent1"/>
                        </a:solidFill>
                        <a:effectLst/>
                        <a:latin typeface="+mn-lt"/>
                        <a:ea typeface="MS PGothic"/>
                        <a:cs typeface="Tahoma"/>
                      </a:endParaRPr>
                    </a:p>
                  </a:txBody>
                  <a:tcPr marL="18288" marR="18288" marT="27453" marB="27453" anchor="ctr">
                    <a:lnL w="6350">
                      <a:solidFill>
                        <a:schemeClr val="bg1">
                          <a:lumMod val="85000"/>
                        </a:schemeClr>
                      </a:solidFill>
                    </a:lnL>
                    <a:lnR w="6350">
                      <a:solidFill>
                        <a:schemeClr val="bg1">
                          <a:lumMod val="85000"/>
                        </a:schemeClr>
                      </a:solidFill>
                    </a:lnR>
                    <a:lnT w="6350">
                      <a:solidFill>
                        <a:schemeClr val="bg1">
                          <a:lumMod val="85000"/>
                        </a:schemeClr>
                      </a:solidFill>
                    </a:lnT>
                    <a:lnB w="12700">
                      <a:solidFill>
                        <a:schemeClr val="tx1"/>
                      </a:solidFill>
                    </a:lnB>
                    <a:lnTlToBr w="0">
                      <a:noFill/>
                    </a:lnTlToBr>
                    <a:lnBlToTr w="0">
                      <a:noFill/>
                    </a:lnBlToTr>
                    <a:solidFill>
                      <a:schemeClr val="bg1"/>
                    </a:solidFill>
                  </a:tcPr>
                </a:tc>
                <a:tc hMerge="1">
                  <a:txBody>
                    <a:bodyPr/>
                    <a:lstStyle/>
                    <a:p>
                      <a:endParaRPr lang="en-US"/>
                    </a:p>
                  </a:txBody>
                  <a:tcPr>
                    <a:lnL w="6350" cap="flat" cmpd="sng" algn="ctr">
                      <a:solidFill>
                        <a:schemeClr val="bg1">
                          <a:lumMod val="85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2">
                  <a:txBody>
                    <a:bodyPr/>
                    <a:lstStyle/>
                    <a:p>
                      <a:pPr marL="0" lvl="0" indent="0" algn="ctr" defTabSz="914400">
                        <a:lnSpc>
                          <a:spcPct val="90000"/>
                        </a:lnSpc>
                        <a:spcBef>
                          <a:spcPts val="400"/>
                        </a:spcBef>
                        <a:spcAft>
                          <a:spcPts val="0"/>
                        </a:spcAft>
                        <a:buNone/>
                        <a:tabLst/>
                      </a:pPr>
                      <a:endParaRPr kumimoji="0" lang="en-US" sz="1100" b="0" i="0" u="none" strike="noStrike" cap="none" normalizeH="0" baseline="0" dirty="0">
                        <a:ln>
                          <a:noFill/>
                        </a:ln>
                        <a:solidFill>
                          <a:schemeClr val="accent1"/>
                        </a:solidFill>
                        <a:effectLst/>
                        <a:latin typeface="+mn-lt"/>
                        <a:ea typeface="MS PGothic"/>
                        <a:cs typeface="Tahoma"/>
                      </a:endParaRPr>
                    </a:p>
                  </a:txBody>
                  <a:tcPr marL="18288" marR="18288" marT="27453" marB="27453" anchor="ctr">
                    <a:lnL w="6350">
                      <a:solidFill>
                        <a:schemeClr val="bg1">
                          <a:lumMod val="85000"/>
                        </a:schemeClr>
                      </a:solidFill>
                    </a:lnL>
                    <a:lnR w="12700">
                      <a:solidFill>
                        <a:schemeClr val="tx1"/>
                      </a:solidFill>
                    </a:lnR>
                    <a:lnT w="6350">
                      <a:solidFill>
                        <a:schemeClr val="bg1">
                          <a:lumMod val="85000"/>
                        </a:schemeClr>
                      </a:solidFill>
                    </a:lnT>
                    <a:lnB w="12700">
                      <a:solidFill>
                        <a:schemeClr val="tx1"/>
                      </a:solidFill>
                    </a:lnB>
                    <a:lnTlToBr w="0">
                      <a:noFill/>
                    </a:lnTlToBr>
                    <a:lnBlToTr w="0">
                      <a:noFill/>
                    </a:lnBlToTr>
                    <a:solidFill>
                      <a:schemeClr val="bg1"/>
                    </a:solidFill>
                  </a:tcPr>
                </a:tc>
                <a:tc hMerge="1">
                  <a:txBody>
                    <a:bodyPr/>
                    <a:lstStyle/>
                    <a:p>
                      <a:endParaRPr lang="en-US"/>
                    </a:p>
                  </a:txBody>
                  <a:tcPr/>
                </a:tc>
                <a:extLst>
                  <a:ext uri="{0D108BD9-81ED-4DB2-BD59-A6C34878D82A}">
                    <a16:rowId xmlns:a16="http://schemas.microsoft.com/office/drawing/2014/main" val="2588620193"/>
                  </a:ext>
                </a:extLst>
              </a:tr>
            </a:tbl>
          </a:graphicData>
        </a:graphic>
      </p:graphicFrame>
      <p:sp>
        <p:nvSpPr>
          <p:cNvPr id="2" name="Title 1">
            <a:extLst>
              <a:ext uri="{FF2B5EF4-FFF2-40B4-BE49-F238E27FC236}">
                <a16:creationId xmlns:a16="http://schemas.microsoft.com/office/drawing/2014/main" id="{55DD3C95-8A6B-8E78-1763-5436D2FBC4E4}"/>
              </a:ext>
            </a:extLst>
          </p:cNvPr>
          <p:cNvSpPr>
            <a:spLocks noGrp="1"/>
          </p:cNvSpPr>
          <p:nvPr>
            <p:ph type="title"/>
          </p:nvPr>
        </p:nvSpPr>
        <p:spPr>
          <a:xfrm>
            <a:off x="276873" y="142800"/>
            <a:ext cx="7588800" cy="469910"/>
          </a:xfrm>
        </p:spPr>
        <p:txBody>
          <a:bodyPr vert="horz"/>
          <a:lstStyle/>
          <a:p>
            <a:r>
              <a:rPr lang="en-US"/>
              <a:t>Client Impact Assessment Roadmap</a:t>
            </a:r>
          </a:p>
        </p:txBody>
      </p:sp>
      <p:sp>
        <p:nvSpPr>
          <p:cNvPr id="6" name="Slide Number Placeholder 5">
            <a:extLst>
              <a:ext uri="{FF2B5EF4-FFF2-40B4-BE49-F238E27FC236}">
                <a16:creationId xmlns:a16="http://schemas.microsoft.com/office/drawing/2014/main" id="{C29D3D46-4350-D732-5728-E9E44110E189}"/>
              </a:ext>
            </a:extLst>
          </p:cNvPr>
          <p:cNvSpPr>
            <a:spLocks noGrp="1"/>
          </p:cNvSpPr>
          <p:nvPr>
            <p:ph type="sldNum" sz="quarter" idx="18"/>
          </p:nvPr>
        </p:nvSpPr>
        <p:spPr/>
        <p:txBody>
          <a:bodyPr/>
          <a:lstStyle/>
          <a:p>
            <a:fld id="{23AA811B-2EBD-4900-905E-5BE206449611}" type="slidenum">
              <a:rPr lang="en-US" smtClean="0"/>
              <a:pPr/>
              <a:t>1</a:t>
            </a:fld>
            <a:endParaRPr lang="en-US"/>
          </a:p>
        </p:txBody>
      </p:sp>
      <p:cxnSp>
        <p:nvCxnSpPr>
          <p:cNvPr id="64" name="Straight Connector 63">
            <a:extLst>
              <a:ext uri="{FF2B5EF4-FFF2-40B4-BE49-F238E27FC236}">
                <a16:creationId xmlns:a16="http://schemas.microsoft.com/office/drawing/2014/main" id="{313DD2DD-F885-2726-9EBC-9B36F45A1EF1}"/>
              </a:ext>
            </a:extLst>
          </p:cNvPr>
          <p:cNvCxnSpPr>
            <a:cxnSpLocks/>
          </p:cNvCxnSpPr>
          <p:nvPr/>
        </p:nvCxnSpPr>
        <p:spPr>
          <a:xfrm>
            <a:off x="2869700" y="1724304"/>
            <a:ext cx="0" cy="3866742"/>
          </a:xfrm>
          <a:prstGeom prst="line">
            <a:avLst/>
          </a:prstGeom>
          <a:ln w="190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9" name="Date Placeholder 6">
            <a:extLst>
              <a:ext uri="{FF2B5EF4-FFF2-40B4-BE49-F238E27FC236}">
                <a16:creationId xmlns:a16="http://schemas.microsoft.com/office/drawing/2014/main" id="{20441600-61FF-1E91-591B-A3BCBC79904C}"/>
              </a:ext>
            </a:extLst>
          </p:cNvPr>
          <p:cNvSpPr>
            <a:spLocks noGrp="1"/>
          </p:cNvSpPr>
          <p:nvPr>
            <p:ph type="dt" sz="half" idx="13"/>
          </p:nvPr>
        </p:nvSpPr>
        <p:spPr>
          <a:xfrm>
            <a:off x="10630800" y="6364800"/>
            <a:ext cx="691200"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18041E-2DAD-480C-AEE4-E661A097CFE4}" type="datetime1">
              <a:rPr kumimoji="0" lang="en-US" sz="800" b="0" i="0" u="none" strike="noStrike" kern="1200" cap="none" spc="0" normalizeH="0" baseline="0" noProof="0" smtClean="0">
                <a:ln>
                  <a:noFill/>
                </a:ln>
                <a:solidFill>
                  <a:srgbClr val="035C67"/>
                </a:solidFill>
                <a:effectLst/>
                <a:uLnTx/>
                <a:uFillTx/>
                <a:latin typeface="Arial"/>
                <a:cs typeface="+mn-cs"/>
              </a:rPr>
              <a:pPr marL="0" marR="0" lvl="0" indent="0" algn="r" defTabSz="914400" rtl="0" eaLnBrk="1" fontAlgn="auto" latinLnBrk="0" hangingPunct="1">
                <a:lnSpc>
                  <a:spcPct val="100000"/>
                </a:lnSpc>
                <a:spcBef>
                  <a:spcPts val="0"/>
                </a:spcBef>
                <a:spcAft>
                  <a:spcPts val="0"/>
                </a:spcAft>
                <a:buClrTx/>
                <a:buSzTx/>
                <a:buFontTx/>
                <a:buNone/>
                <a:tabLst/>
                <a:defRPr/>
              </a:pPr>
              <a:t>5/12/2026</a:t>
            </a:fld>
            <a:endParaRPr kumimoji="0" lang="en-US" sz="800" b="0" i="0" u="none" strike="noStrike" kern="1200" cap="none" spc="0" normalizeH="0" baseline="0" noProof="0">
              <a:ln>
                <a:noFill/>
              </a:ln>
              <a:solidFill>
                <a:srgbClr val="035C67"/>
              </a:solidFill>
              <a:effectLst/>
              <a:uLnTx/>
              <a:uFillTx/>
              <a:latin typeface="Arial"/>
              <a:cs typeface="+mn-cs"/>
            </a:endParaRPr>
          </a:p>
        </p:txBody>
      </p:sp>
      <p:sp>
        <p:nvSpPr>
          <p:cNvPr id="16" name="TextBox 15">
            <a:extLst>
              <a:ext uri="{FF2B5EF4-FFF2-40B4-BE49-F238E27FC236}">
                <a16:creationId xmlns:a16="http://schemas.microsoft.com/office/drawing/2014/main" id="{21945EA8-6BA8-7272-24D1-7BFBBA275CB8}"/>
              </a:ext>
            </a:extLst>
          </p:cNvPr>
          <p:cNvSpPr txBox="1"/>
          <p:nvPr/>
        </p:nvSpPr>
        <p:spPr>
          <a:xfrm>
            <a:off x="10569290" y="110864"/>
            <a:ext cx="1701209"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srgbClr val="000000"/>
                </a:solidFill>
                <a:effectLst/>
                <a:uLnTx/>
                <a:uFillTx/>
                <a:latin typeface="Arial"/>
                <a:ea typeface="MS Gothic"/>
                <a:cs typeface="+mn-cs"/>
              </a:rPr>
              <a:t>Last Updated: </a:t>
            </a:r>
            <a:r>
              <a:rPr lang="en-US" sz="900" b="1" i="1">
                <a:solidFill>
                  <a:srgbClr val="000000"/>
                </a:solidFill>
                <a:latin typeface="Arial"/>
                <a:ea typeface="MS Gothic"/>
              </a:rPr>
              <a:t>04/06/2026</a:t>
            </a:r>
            <a:endParaRPr kumimoji="0" lang="en-US" sz="900" b="1" i="1" u="none" strike="noStrike" kern="1200" cap="none" spc="0" normalizeH="0" baseline="0" noProof="0">
              <a:ln>
                <a:noFill/>
              </a:ln>
              <a:solidFill>
                <a:srgbClr val="000000"/>
              </a:solidFill>
              <a:effectLst/>
              <a:uLnTx/>
              <a:uFillTx/>
              <a:latin typeface="Arial"/>
              <a:ea typeface="MS Gothic"/>
              <a:cs typeface="+mn-cs"/>
            </a:endParaRPr>
          </a:p>
          <a:p>
            <a:pPr>
              <a:defRPr/>
            </a:pPr>
            <a:r>
              <a:rPr lang="en-US" sz="900" b="1" i="1">
                <a:solidFill>
                  <a:srgbClr val="000000"/>
                </a:solidFill>
                <a:latin typeface="Arial"/>
                <a:ea typeface="MS Gothic"/>
              </a:rPr>
              <a:t>Dates Subject</a:t>
            </a:r>
            <a:r>
              <a:rPr kumimoji="0" lang="en-US" sz="900" b="1" i="1" u="none" strike="noStrike" kern="1200" cap="none" spc="0" normalizeH="0" baseline="0" noProof="0">
                <a:ln>
                  <a:noFill/>
                </a:ln>
                <a:solidFill>
                  <a:srgbClr val="000000"/>
                </a:solidFill>
                <a:effectLst/>
                <a:uLnTx/>
                <a:uFillTx/>
                <a:latin typeface="Arial"/>
                <a:ea typeface="MS Gothic"/>
                <a:cs typeface="+mn-cs"/>
              </a:rPr>
              <a:t> to Change</a:t>
            </a:r>
          </a:p>
        </p:txBody>
      </p:sp>
      <p:sp>
        <p:nvSpPr>
          <p:cNvPr id="31" name="TextBox 30">
            <a:extLst>
              <a:ext uri="{FF2B5EF4-FFF2-40B4-BE49-F238E27FC236}">
                <a16:creationId xmlns:a16="http://schemas.microsoft.com/office/drawing/2014/main" id="{3850CDDF-DCBA-64BD-9DC7-4BD846B679B0}"/>
              </a:ext>
            </a:extLst>
          </p:cNvPr>
          <p:cNvSpPr txBox="1"/>
          <p:nvPr/>
        </p:nvSpPr>
        <p:spPr>
          <a:xfrm>
            <a:off x="277765" y="558938"/>
            <a:ext cx="6227809"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a:solidFill>
                  <a:schemeClr val="accent4"/>
                </a:solidFill>
                <a:cs typeface="Arial"/>
              </a:rPr>
              <a:t>The below illustrates swim lanes or impacts across </a:t>
            </a:r>
            <a:r>
              <a:rPr lang="en-US" sz="1000" u="sng">
                <a:solidFill>
                  <a:schemeClr val="accent4"/>
                </a:solidFill>
                <a:cs typeface="Arial"/>
              </a:rPr>
              <a:t>all</a:t>
            </a:r>
            <a:r>
              <a:rPr lang="en-US" sz="1000">
                <a:solidFill>
                  <a:schemeClr val="accent4"/>
                </a:solidFill>
                <a:cs typeface="Arial"/>
              </a:rPr>
              <a:t> clients. Client-specific impacts will not be covered as part of this roadmap view but will be shared as part of an individual client's project plan as applicable.</a:t>
            </a:r>
          </a:p>
        </p:txBody>
      </p:sp>
      <p:sp>
        <p:nvSpPr>
          <p:cNvPr id="108" name="Flowchart: Decision 107">
            <a:extLst>
              <a:ext uri="{FF2B5EF4-FFF2-40B4-BE49-F238E27FC236}">
                <a16:creationId xmlns:a16="http://schemas.microsoft.com/office/drawing/2014/main" id="{51586DB8-507B-7C8F-0820-F79AFD0165C0}"/>
              </a:ext>
            </a:extLst>
          </p:cNvPr>
          <p:cNvSpPr/>
          <p:nvPr/>
        </p:nvSpPr>
        <p:spPr bwMode="auto">
          <a:xfrm>
            <a:off x="2720688" y="2237756"/>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09" name="TextBox 108">
            <a:extLst>
              <a:ext uri="{FF2B5EF4-FFF2-40B4-BE49-F238E27FC236}">
                <a16:creationId xmlns:a16="http://schemas.microsoft.com/office/drawing/2014/main" id="{83B5347F-0C0B-FC0B-C6FE-7E27CCE91BBD}"/>
              </a:ext>
            </a:extLst>
          </p:cNvPr>
          <p:cNvSpPr txBox="1"/>
          <p:nvPr/>
        </p:nvSpPr>
        <p:spPr>
          <a:xfrm>
            <a:off x="1955584" y="2237756"/>
            <a:ext cx="743558" cy="184666"/>
          </a:xfrm>
          <a:prstGeom prst="rect">
            <a:avLst/>
          </a:prstGeom>
          <a:noFill/>
        </p:spPr>
        <p:txBody>
          <a:bodyPr wrap="square" lIns="0" tIns="0" rIns="0" bIns="0" rtlCol="0">
            <a:spAutoFit/>
          </a:bodyPr>
          <a:lstStyle/>
          <a:p>
            <a:pPr algn="r"/>
            <a:r>
              <a:rPr lang="en-US" sz="600">
                <a:solidFill>
                  <a:schemeClr val="accent4"/>
                </a:solidFill>
              </a:rPr>
              <a:t>Eligibility Impacts Confirmed</a:t>
            </a:r>
          </a:p>
        </p:txBody>
      </p:sp>
      <p:sp>
        <p:nvSpPr>
          <p:cNvPr id="5" name="Flowchart: Decision 4">
            <a:extLst>
              <a:ext uri="{FF2B5EF4-FFF2-40B4-BE49-F238E27FC236}">
                <a16:creationId xmlns:a16="http://schemas.microsoft.com/office/drawing/2014/main" id="{C6813DC4-31DF-D38B-436F-0ACE09D9097F}"/>
              </a:ext>
            </a:extLst>
          </p:cNvPr>
          <p:cNvSpPr/>
          <p:nvPr/>
        </p:nvSpPr>
        <p:spPr bwMode="auto">
          <a:xfrm>
            <a:off x="2720688" y="1779373"/>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7" name="TextBox 6">
            <a:extLst>
              <a:ext uri="{FF2B5EF4-FFF2-40B4-BE49-F238E27FC236}">
                <a16:creationId xmlns:a16="http://schemas.microsoft.com/office/drawing/2014/main" id="{F09A4655-A8E1-6D3F-9EA6-7979FA30960A}"/>
              </a:ext>
            </a:extLst>
          </p:cNvPr>
          <p:cNvSpPr txBox="1"/>
          <p:nvPr/>
        </p:nvSpPr>
        <p:spPr>
          <a:xfrm>
            <a:off x="1977130" y="1775651"/>
            <a:ext cx="743558" cy="184666"/>
          </a:xfrm>
          <a:prstGeom prst="rect">
            <a:avLst/>
          </a:prstGeom>
          <a:noFill/>
        </p:spPr>
        <p:txBody>
          <a:bodyPr wrap="square" lIns="0" tIns="0" rIns="0" bIns="0" rtlCol="0">
            <a:spAutoFit/>
          </a:bodyPr>
          <a:lstStyle/>
          <a:p>
            <a:pPr algn="ctr"/>
            <a:r>
              <a:rPr lang="en-US" sz="600">
                <a:solidFill>
                  <a:schemeClr val="accent4"/>
                </a:solidFill>
              </a:rPr>
              <a:t>Billing File Impacts Finalized &amp; Published</a:t>
            </a:r>
          </a:p>
        </p:txBody>
      </p:sp>
      <p:sp>
        <p:nvSpPr>
          <p:cNvPr id="10" name="Flowchart: Decision 9">
            <a:extLst>
              <a:ext uri="{FF2B5EF4-FFF2-40B4-BE49-F238E27FC236}">
                <a16:creationId xmlns:a16="http://schemas.microsoft.com/office/drawing/2014/main" id="{C56B8C5E-B743-A862-D98F-CDE51EF723D3}"/>
              </a:ext>
            </a:extLst>
          </p:cNvPr>
          <p:cNvSpPr/>
          <p:nvPr/>
        </p:nvSpPr>
        <p:spPr bwMode="auto">
          <a:xfrm>
            <a:off x="2719156" y="2005523"/>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1" name="TextBox 10">
            <a:extLst>
              <a:ext uri="{FF2B5EF4-FFF2-40B4-BE49-F238E27FC236}">
                <a16:creationId xmlns:a16="http://schemas.microsoft.com/office/drawing/2014/main" id="{C9DE0C01-190F-DB45-2629-611AF28D3876}"/>
              </a:ext>
            </a:extLst>
          </p:cNvPr>
          <p:cNvSpPr txBox="1"/>
          <p:nvPr/>
        </p:nvSpPr>
        <p:spPr>
          <a:xfrm>
            <a:off x="1978496" y="2008444"/>
            <a:ext cx="801269" cy="184666"/>
          </a:xfrm>
          <a:prstGeom prst="rect">
            <a:avLst/>
          </a:prstGeom>
          <a:noFill/>
        </p:spPr>
        <p:txBody>
          <a:bodyPr wrap="square" lIns="0" tIns="0" rIns="0" bIns="0" rtlCol="0">
            <a:spAutoFit/>
          </a:bodyPr>
          <a:lstStyle/>
          <a:p>
            <a:r>
              <a:rPr lang="en-US" sz="600">
                <a:solidFill>
                  <a:schemeClr val="accent4"/>
                </a:solidFill>
              </a:rPr>
              <a:t>Preliminary Billing File Layouts Available</a:t>
            </a:r>
          </a:p>
        </p:txBody>
      </p:sp>
      <p:sp>
        <p:nvSpPr>
          <p:cNvPr id="13" name="TextBox 12">
            <a:extLst>
              <a:ext uri="{FF2B5EF4-FFF2-40B4-BE49-F238E27FC236}">
                <a16:creationId xmlns:a16="http://schemas.microsoft.com/office/drawing/2014/main" id="{06CE86B6-E188-32DA-7D5B-04B207DCDA60}"/>
              </a:ext>
            </a:extLst>
          </p:cNvPr>
          <p:cNvSpPr txBox="1"/>
          <p:nvPr/>
        </p:nvSpPr>
        <p:spPr>
          <a:xfrm>
            <a:off x="2905690" y="1979792"/>
            <a:ext cx="866601" cy="184666"/>
          </a:xfrm>
          <a:prstGeom prst="rect">
            <a:avLst/>
          </a:prstGeom>
          <a:noFill/>
        </p:spPr>
        <p:txBody>
          <a:bodyPr wrap="square" lIns="0" tIns="0" rIns="0" bIns="0" rtlCol="0" anchor="t">
            <a:spAutoFit/>
          </a:bodyPr>
          <a:lstStyle/>
          <a:p>
            <a:r>
              <a:rPr lang="en-US" sz="600" b="1">
                <a:solidFill>
                  <a:schemeClr val="accent4"/>
                </a:solidFill>
              </a:rPr>
              <a:t>Final Billing File Layouts Released</a:t>
            </a:r>
            <a:endParaRPr lang="en-US" sz="600" b="1">
              <a:solidFill>
                <a:schemeClr val="accent4"/>
              </a:solidFill>
              <a:cs typeface="Arial"/>
            </a:endParaRPr>
          </a:p>
        </p:txBody>
      </p:sp>
      <p:sp>
        <p:nvSpPr>
          <p:cNvPr id="14" name="TextBox 13">
            <a:extLst>
              <a:ext uri="{FF2B5EF4-FFF2-40B4-BE49-F238E27FC236}">
                <a16:creationId xmlns:a16="http://schemas.microsoft.com/office/drawing/2014/main" id="{63A43019-F02F-DCAE-10F9-0C289BE8C703}"/>
              </a:ext>
            </a:extLst>
          </p:cNvPr>
          <p:cNvSpPr txBox="1"/>
          <p:nvPr/>
        </p:nvSpPr>
        <p:spPr>
          <a:xfrm>
            <a:off x="4949182" y="1816945"/>
            <a:ext cx="568794" cy="184666"/>
          </a:xfrm>
          <a:prstGeom prst="rect">
            <a:avLst/>
          </a:prstGeom>
          <a:noFill/>
        </p:spPr>
        <p:txBody>
          <a:bodyPr wrap="square" lIns="0" tIns="0" rIns="0" bIns="0" rtlCol="0">
            <a:spAutoFit/>
          </a:bodyPr>
          <a:lstStyle/>
          <a:p>
            <a:pPr algn="ctr"/>
            <a:r>
              <a:rPr lang="en-US" sz="600" b="1">
                <a:solidFill>
                  <a:schemeClr val="accent4"/>
                </a:solidFill>
              </a:rPr>
              <a:t>Billing File Test Window Open</a:t>
            </a:r>
          </a:p>
        </p:txBody>
      </p:sp>
      <p:sp>
        <p:nvSpPr>
          <p:cNvPr id="17" name="TextBox 16">
            <a:extLst>
              <a:ext uri="{FF2B5EF4-FFF2-40B4-BE49-F238E27FC236}">
                <a16:creationId xmlns:a16="http://schemas.microsoft.com/office/drawing/2014/main" id="{76B613CE-FA2F-960B-44E1-398389491B0F}"/>
              </a:ext>
            </a:extLst>
          </p:cNvPr>
          <p:cNvSpPr txBox="1"/>
          <p:nvPr/>
        </p:nvSpPr>
        <p:spPr>
          <a:xfrm>
            <a:off x="7101261" y="1985446"/>
            <a:ext cx="959371" cy="184666"/>
          </a:xfrm>
          <a:prstGeom prst="rect">
            <a:avLst/>
          </a:prstGeom>
          <a:noFill/>
        </p:spPr>
        <p:txBody>
          <a:bodyPr wrap="square" lIns="0" tIns="0" rIns="0" bIns="0" rtlCol="0">
            <a:spAutoFit/>
          </a:bodyPr>
          <a:lstStyle/>
          <a:p>
            <a:r>
              <a:rPr lang="en-US" sz="600">
                <a:solidFill>
                  <a:schemeClr val="accent4"/>
                </a:solidFill>
              </a:rPr>
              <a:t>Validation Sign‑Off / Risk Acceptance</a:t>
            </a:r>
          </a:p>
        </p:txBody>
      </p:sp>
      <p:sp>
        <p:nvSpPr>
          <p:cNvPr id="18" name="Oval 17">
            <a:extLst>
              <a:ext uri="{FF2B5EF4-FFF2-40B4-BE49-F238E27FC236}">
                <a16:creationId xmlns:a16="http://schemas.microsoft.com/office/drawing/2014/main" id="{4DA6902B-F67A-6B67-0C8C-875984CB0EB9}"/>
              </a:ext>
            </a:extLst>
          </p:cNvPr>
          <p:cNvSpPr/>
          <p:nvPr/>
        </p:nvSpPr>
        <p:spPr bwMode="auto">
          <a:xfrm>
            <a:off x="7793943" y="1797031"/>
            <a:ext cx="155146" cy="160318"/>
          </a:xfrm>
          <a:prstGeom prst="ellipse">
            <a:avLst/>
          </a:prstGeom>
          <a:solidFill>
            <a:schemeClr val="accent2"/>
          </a:solidFill>
          <a:ln w="6350" cap="flat" cmpd="sng" algn="ctr">
            <a:solidFill>
              <a:schemeClr val="tx1"/>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9" name="TextBox 18">
            <a:extLst>
              <a:ext uri="{FF2B5EF4-FFF2-40B4-BE49-F238E27FC236}">
                <a16:creationId xmlns:a16="http://schemas.microsoft.com/office/drawing/2014/main" id="{6411A9F7-88A4-059F-9A64-42A5F8638D4A}"/>
              </a:ext>
            </a:extLst>
          </p:cNvPr>
          <p:cNvSpPr txBox="1"/>
          <p:nvPr/>
        </p:nvSpPr>
        <p:spPr>
          <a:xfrm>
            <a:off x="8060632" y="1818612"/>
            <a:ext cx="1035591" cy="184666"/>
          </a:xfrm>
          <a:prstGeom prst="rect">
            <a:avLst/>
          </a:prstGeom>
          <a:noFill/>
        </p:spPr>
        <p:txBody>
          <a:bodyPr wrap="square" lIns="0" tIns="0" rIns="0" bIns="0" rtlCol="0">
            <a:spAutoFit/>
          </a:bodyPr>
          <a:lstStyle/>
          <a:p>
            <a:pPr algn="r"/>
            <a:r>
              <a:rPr lang="en-US" sz="600">
                <a:solidFill>
                  <a:schemeClr val="accent4"/>
                </a:solidFill>
              </a:rPr>
              <a:t>Post‑Transition Monitoring Begins</a:t>
            </a:r>
          </a:p>
        </p:txBody>
      </p:sp>
      <p:sp>
        <p:nvSpPr>
          <p:cNvPr id="21" name="Flowchart: Decision 20">
            <a:extLst>
              <a:ext uri="{FF2B5EF4-FFF2-40B4-BE49-F238E27FC236}">
                <a16:creationId xmlns:a16="http://schemas.microsoft.com/office/drawing/2014/main" id="{15C8E294-08E4-113B-1882-3230C62AE1BD}"/>
              </a:ext>
            </a:extLst>
          </p:cNvPr>
          <p:cNvSpPr/>
          <p:nvPr/>
        </p:nvSpPr>
        <p:spPr bwMode="auto">
          <a:xfrm>
            <a:off x="8038087" y="1800805"/>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22" name="Flowchart: Decision 21">
            <a:extLst>
              <a:ext uri="{FF2B5EF4-FFF2-40B4-BE49-F238E27FC236}">
                <a16:creationId xmlns:a16="http://schemas.microsoft.com/office/drawing/2014/main" id="{B616C24A-E560-0313-E79E-F7949C0A348C}"/>
              </a:ext>
            </a:extLst>
          </p:cNvPr>
          <p:cNvSpPr/>
          <p:nvPr/>
        </p:nvSpPr>
        <p:spPr bwMode="auto">
          <a:xfrm>
            <a:off x="2740422" y="2455066"/>
            <a:ext cx="155448" cy="15544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23" name="TextBox 22">
            <a:extLst>
              <a:ext uri="{FF2B5EF4-FFF2-40B4-BE49-F238E27FC236}">
                <a16:creationId xmlns:a16="http://schemas.microsoft.com/office/drawing/2014/main" id="{F9C27DE2-0514-47E7-2D10-C3207242C88E}"/>
              </a:ext>
            </a:extLst>
          </p:cNvPr>
          <p:cNvSpPr txBox="1"/>
          <p:nvPr/>
        </p:nvSpPr>
        <p:spPr>
          <a:xfrm>
            <a:off x="1992808" y="2435861"/>
            <a:ext cx="743558" cy="184666"/>
          </a:xfrm>
          <a:prstGeom prst="rect">
            <a:avLst/>
          </a:prstGeom>
          <a:noFill/>
        </p:spPr>
        <p:txBody>
          <a:bodyPr wrap="square" lIns="0" tIns="0" rIns="0" bIns="0" rtlCol="0">
            <a:spAutoFit/>
          </a:bodyPr>
          <a:lstStyle/>
          <a:p>
            <a:pPr algn="r"/>
            <a:r>
              <a:rPr lang="en-US" sz="600">
                <a:solidFill>
                  <a:schemeClr val="accent4"/>
                </a:solidFill>
              </a:rPr>
              <a:t>Eligibility File Layouts Shared</a:t>
            </a:r>
          </a:p>
        </p:txBody>
      </p:sp>
      <p:sp>
        <p:nvSpPr>
          <p:cNvPr id="39" name="Flowchart: Decision 38">
            <a:extLst>
              <a:ext uri="{FF2B5EF4-FFF2-40B4-BE49-F238E27FC236}">
                <a16:creationId xmlns:a16="http://schemas.microsoft.com/office/drawing/2014/main" id="{CAFB9E03-D5C7-46DB-D659-C417C235A4B9}"/>
              </a:ext>
            </a:extLst>
          </p:cNvPr>
          <p:cNvSpPr/>
          <p:nvPr/>
        </p:nvSpPr>
        <p:spPr bwMode="auto">
          <a:xfrm>
            <a:off x="3598551" y="2776800"/>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40" name="TextBox 39">
            <a:extLst>
              <a:ext uri="{FF2B5EF4-FFF2-40B4-BE49-F238E27FC236}">
                <a16:creationId xmlns:a16="http://schemas.microsoft.com/office/drawing/2014/main" id="{4C685312-A319-F7C3-7AE6-9305C29EDBAA}"/>
              </a:ext>
            </a:extLst>
          </p:cNvPr>
          <p:cNvSpPr txBox="1"/>
          <p:nvPr/>
        </p:nvSpPr>
        <p:spPr>
          <a:xfrm>
            <a:off x="3061136" y="2948378"/>
            <a:ext cx="743558" cy="184666"/>
          </a:xfrm>
          <a:prstGeom prst="rect">
            <a:avLst/>
          </a:prstGeom>
          <a:noFill/>
        </p:spPr>
        <p:txBody>
          <a:bodyPr wrap="square" lIns="0" tIns="0" rIns="0" bIns="0" rtlCol="0">
            <a:spAutoFit/>
          </a:bodyPr>
          <a:lstStyle/>
          <a:p>
            <a:pPr algn="r"/>
            <a:r>
              <a:rPr lang="en-US" sz="600">
                <a:solidFill>
                  <a:schemeClr val="accent4"/>
                </a:solidFill>
              </a:rPr>
              <a:t>Benefit‑Related F6 Impacts Identified</a:t>
            </a:r>
          </a:p>
        </p:txBody>
      </p:sp>
      <p:sp>
        <p:nvSpPr>
          <p:cNvPr id="41" name="Flowchart: Decision 40">
            <a:extLst>
              <a:ext uri="{FF2B5EF4-FFF2-40B4-BE49-F238E27FC236}">
                <a16:creationId xmlns:a16="http://schemas.microsoft.com/office/drawing/2014/main" id="{5ACD9208-8202-7BA0-86D1-817BC70798E7}"/>
              </a:ext>
            </a:extLst>
          </p:cNvPr>
          <p:cNvSpPr/>
          <p:nvPr/>
        </p:nvSpPr>
        <p:spPr bwMode="auto">
          <a:xfrm>
            <a:off x="4153290" y="2776800"/>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42" name="TextBox 41">
            <a:extLst>
              <a:ext uri="{FF2B5EF4-FFF2-40B4-BE49-F238E27FC236}">
                <a16:creationId xmlns:a16="http://schemas.microsoft.com/office/drawing/2014/main" id="{13765E70-5072-F180-7FC2-B6017BC30A49}"/>
              </a:ext>
            </a:extLst>
          </p:cNvPr>
          <p:cNvSpPr txBox="1"/>
          <p:nvPr/>
        </p:nvSpPr>
        <p:spPr>
          <a:xfrm>
            <a:off x="3744467" y="2948378"/>
            <a:ext cx="743558" cy="184666"/>
          </a:xfrm>
          <a:prstGeom prst="rect">
            <a:avLst/>
          </a:prstGeom>
          <a:noFill/>
        </p:spPr>
        <p:txBody>
          <a:bodyPr wrap="square" lIns="0" tIns="0" rIns="0" bIns="0" rtlCol="0">
            <a:spAutoFit/>
          </a:bodyPr>
          <a:lstStyle/>
          <a:p>
            <a:pPr algn="r"/>
            <a:r>
              <a:rPr lang="en-US" sz="600">
                <a:solidFill>
                  <a:schemeClr val="accent4"/>
                </a:solidFill>
              </a:rPr>
              <a:t>Benefit Template Layouts Shared</a:t>
            </a:r>
          </a:p>
        </p:txBody>
      </p:sp>
      <p:sp>
        <p:nvSpPr>
          <p:cNvPr id="43" name="Oval 42">
            <a:extLst>
              <a:ext uri="{FF2B5EF4-FFF2-40B4-BE49-F238E27FC236}">
                <a16:creationId xmlns:a16="http://schemas.microsoft.com/office/drawing/2014/main" id="{A81129CB-3397-EA59-5C45-96B6E01ACD77}"/>
              </a:ext>
            </a:extLst>
          </p:cNvPr>
          <p:cNvSpPr/>
          <p:nvPr/>
        </p:nvSpPr>
        <p:spPr bwMode="auto">
          <a:xfrm>
            <a:off x="4917949" y="2776800"/>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44" name="TextBox 43">
            <a:extLst>
              <a:ext uri="{FF2B5EF4-FFF2-40B4-BE49-F238E27FC236}">
                <a16:creationId xmlns:a16="http://schemas.microsoft.com/office/drawing/2014/main" id="{81BE3E00-D5D1-3DE7-DCC2-D502D68EA253}"/>
              </a:ext>
            </a:extLst>
          </p:cNvPr>
          <p:cNvSpPr txBox="1"/>
          <p:nvPr/>
        </p:nvSpPr>
        <p:spPr>
          <a:xfrm>
            <a:off x="4643550" y="2948378"/>
            <a:ext cx="743558" cy="184666"/>
          </a:xfrm>
          <a:prstGeom prst="rect">
            <a:avLst/>
          </a:prstGeom>
          <a:noFill/>
        </p:spPr>
        <p:txBody>
          <a:bodyPr wrap="square" lIns="0" tIns="0" rIns="0" bIns="0" rtlCol="0" anchor="t">
            <a:spAutoFit/>
          </a:bodyPr>
          <a:lstStyle/>
          <a:p>
            <a:pPr algn="r"/>
            <a:r>
              <a:rPr lang="en-US" sz="600">
                <a:solidFill>
                  <a:schemeClr val="accent4"/>
                </a:solidFill>
              </a:rPr>
              <a:t>Batch Testing Tool / Scenarios Available</a:t>
            </a:r>
          </a:p>
        </p:txBody>
      </p:sp>
      <p:sp>
        <p:nvSpPr>
          <p:cNvPr id="46" name="TextBox 45">
            <a:extLst>
              <a:ext uri="{FF2B5EF4-FFF2-40B4-BE49-F238E27FC236}">
                <a16:creationId xmlns:a16="http://schemas.microsoft.com/office/drawing/2014/main" id="{EF9094EC-5E8D-BC50-67F3-C7C60359E074}"/>
              </a:ext>
            </a:extLst>
          </p:cNvPr>
          <p:cNvSpPr txBox="1"/>
          <p:nvPr/>
        </p:nvSpPr>
        <p:spPr>
          <a:xfrm>
            <a:off x="8920965" y="2947709"/>
            <a:ext cx="812031" cy="184666"/>
          </a:xfrm>
          <a:prstGeom prst="rect">
            <a:avLst/>
          </a:prstGeom>
          <a:noFill/>
        </p:spPr>
        <p:txBody>
          <a:bodyPr wrap="square" lIns="0" tIns="0" rIns="0" bIns="0" rtlCol="0" anchor="t">
            <a:spAutoFit/>
          </a:bodyPr>
          <a:lstStyle/>
          <a:p>
            <a:pPr algn="ctr"/>
            <a:r>
              <a:rPr lang="en-US" sz="600">
                <a:solidFill>
                  <a:schemeClr val="accent4"/>
                </a:solidFill>
              </a:rPr>
              <a:t>Operations Testing Complete</a:t>
            </a:r>
          </a:p>
        </p:txBody>
      </p:sp>
      <p:sp>
        <p:nvSpPr>
          <p:cNvPr id="47" name="Flowchart: Decision 46">
            <a:extLst>
              <a:ext uri="{FF2B5EF4-FFF2-40B4-BE49-F238E27FC236}">
                <a16:creationId xmlns:a16="http://schemas.microsoft.com/office/drawing/2014/main" id="{3BB065A1-CCF6-8918-8789-F9B81CEBCD2F}"/>
              </a:ext>
            </a:extLst>
          </p:cNvPr>
          <p:cNvSpPr/>
          <p:nvPr/>
        </p:nvSpPr>
        <p:spPr bwMode="auto">
          <a:xfrm>
            <a:off x="3597816" y="3229197"/>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48" name="TextBox 47">
            <a:extLst>
              <a:ext uri="{FF2B5EF4-FFF2-40B4-BE49-F238E27FC236}">
                <a16:creationId xmlns:a16="http://schemas.microsoft.com/office/drawing/2014/main" id="{EB6CD61E-205B-E953-A911-183CD91388BF}"/>
              </a:ext>
            </a:extLst>
          </p:cNvPr>
          <p:cNvSpPr txBox="1"/>
          <p:nvPr/>
        </p:nvSpPr>
        <p:spPr>
          <a:xfrm>
            <a:off x="3060401" y="3400775"/>
            <a:ext cx="743558" cy="184666"/>
          </a:xfrm>
          <a:prstGeom prst="rect">
            <a:avLst/>
          </a:prstGeom>
          <a:noFill/>
        </p:spPr>
        <p:txBody>
          <a:bodyPr wrap="square" lIns="0" tIns="0" rIns="0" bIns="0" rtlCol="0">
            <a:spAutoFit/>
          </a:bodyPr>
          <a:lstStyle/>
          <a:p>
            <a:r>
              <a:rPr lang="en-US" sz="600">
                <a:solidFill>
                  <a:schemeClr val="accent4"/>
                </a:solidFill>
              </a:rPr>
              <a:t>Help Desk Impact Scope Defined</a:t>
            </a:r>
          </a:p>
        </p:txBody>
      </p:sp>
      <p:sp>
        <p:nvSpPr>
          <p:cNvPr id="49" name="Flowchart: Decision 48">
            <a:extLst>
              <a:ext uri="{FF2B5EF4-FFF2-40B4-BE49-F238E27FC236}">
                <a16:creationId xmlns:a16="http://schemas.microsoft.com/office/drawing/2014/main" id="{BAB1DB19-62B1-4C48-98AC-729A0E931BAD}"/>
              </a:ext>
            </a:extLst>
          </p:cNvPr>
          <p:cNvSpPr/>
          <p:nvPr/>
        </p:nvSpPr>
        <p:spPr bwMode="auto">
          <a:xfrm>
            <a:off x="4774794" y="3236637"/>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50" name="TextBox 49">
            <a:extLst>
              <a:ext uri="{FF2B5EF4-FFF2-40B4-BE49-F238E27FC236}">
                <a16:creationId xmlns:a16="http://schemas.microsoft.com/office/drawing/2014/main" id="{90493589-0104-CFEA-7BCD-1612666E553B}"/>
              </a:ext>
            </a:extLst>
          </p:cNvPr>
          <p:cNvSpPr txBox="1"/>
          <p:nvPr/>
        </p:nvSpPr>
        <p:spPr>
          <a:xfrm>
            <a:off x="4402810" y="3396186"/>
            <a:ext cx="757192" cy="276999"/>
          </a:xfrm>
          <a:prstGeom prst="rect">
            <a:avLst/>
          </a:prstGeom>
          <a:noFill/>
        </p:spPr>
        <p:txBody>
          <a:bodyPr wrap="square" lIns="0" tIns="0" rIns="0" bIns="0" rtlCol="0">
            <a:spAutoFit/>
          </a:bodyPr>
          <a:lstStyle/>
          <a:p>
            <a:pPr algn="r"/>
            <a:r>
              <a:rPr lang="en-US" sz="600">
                <a:solidFill>
                  <a:schemeClr val="accent4"/>
                </a:solidFill>
              </a:rPr>
              <a:t>Client‑Facing Support FAQs &amp; Talking Points Delivered</a:t>
            </a:r>
          </a:p>
        </p:txBody>
      </p:sp>
      <p:sp>
        <p:nvSpPr>
          <p:cNvPr id="52" name="TextBox 51">
            <a:extLst>
              <a:ext uri="{FF2B5EF4-FFF2-40B4-BE49-F238E27FC236}">
                <a16:creationId xmlns:a16="http://schemas.microsoft.com/office/drawing/2014/main" id="{ECCD236E-1D54-5B1D-1DF2-B863F4844F40}"/>
              </a:ext>
            </a:extLst>
          </p:cNvPr>
          <p:cNvSpPr txBox="1"/>
          <p:nvPr/>
        </p:nvSpPr>
        <p:spPr>
          <a:xfrm>
            <a:off x="5974710" y="3413997"/>
            <a:ext cx="757192" cy="276999"/>
          </a:xfrm>
          <a:prstGeom prst="rect">
            <a:avLst/>
          </a:prstGeom>
          <a:noFill/>
        </p:spPr>
        <p:txBody>
          <a:bodyPr wrap="square" lIns="0" tIns="0" rIns="0" bIns="0" rtlCol="0">
            <a:spAutoFit/>
          </a:bodyPr>
          <a:lstStyle/>
          <a:p>
            <a:r>
              <a:rPr lang="en-US" sz="600">
                <a:solidFill>
                  <a:schemeClr val="accent4"/>
                </a:solidFill>
              </a:rPr>
              <a:t>Help Desk Demo / Training Window Begins</a:t>
            </a:r>
          </a:p>
        </p:txBody>
      </p:sp>
      <p:sp>
        <p:nvSpPr>
          <p:cNvPr id="53" name="Rectangle 52">
            <a:extLst>
              <a:ext uri="{FF2B5EF4-FFF2-40B4-BE49-F238E27FC236}">
                <a16:creationId xmlns:a16="http://schemas.microsoft.com/office/drawing/2014/main" id="{9D0C3E8A-1928-7EF3-E176-64848DF2006A}"/>
              </a:ext>
            </a:extLst>
          </p:cNvPr>
          <p:cNvSpPr/>
          <p:nvPr/>
        </p:nvSpPr>
        <p:spPr>
          <a:xfrm>
            <a:off x="6265626" y="3255575"/>
            <a:ext cx="2104653" cy="11758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51" name="Oval 50">
            <a:extLst>
              <a:ext uri="{FF2B5EF4-FFF2-40B4-BE49-F238E27FC236}">
                <a16:creationId xmlns:a16="http://schemas.microsoft.com/office/drawing/2014/main" id="{3CFE41C0-5E61-53BA-802F-7A3D901848F7}"/>
              </a:ext>
            </a:extLst>
          </p:cNvPr>
          <p:cNvSpPr/>
          <p:nvPr/>
        </p:nvSpPr>
        <p:spPr bwMode="auto">
          <a:xfrm>
            <a:off x="6200872" y="3229125"/>
            <a:ext cx="155146" cy="16031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56" name="TextBox 55">
            <a:extLst>
              <a:ext uri="{FF2B5EF4-FFF2-40B4-BE49-F238E27FC236}">
                <a16:creationId xmlns:a16="http://schemas.microsoft.com/office/drawing/2014/main" id="{58B61FDF-D2BA-EBE6-5152-8D8ED50FC02A}"/>
              </a:ext>
            </a:extLst>
          </p:cNvPr>
          <p:cNvSpPr txBox="1"/>
          <p:nvPr/>
        </p:nvSpPr>
        <p:spPr>
          <a:xfrm>
            <a:off x="7775870" y="3407227"/>
            <a:ext cx="757192" cy="184666"/>
          </a:xfrm>
          <a:prstGeom prst="rect">
            <a:avLst/>
          </a:prstGeom>
          <a:noFill/>
        </p:spPr>
        <p:txBody>
          <a:bodyPr wrap="square" lIns="0" tIns="0" rIns="0" bIns="0" rtlCol="0">
            <a:spAutoFit/>
          </a:bodyPr>
          <a:lstStyle/>
          <a:p>
            <a:r>
              <a:rPr lang="en-US" sz="600">
                <a:solidFill>
                  <a:schemeClr val="accent4"/>
                </a:solidFill>
              </a:rPr>
              <a:t>Help Desk Training Window Ends</a:t>
            </a:r>
          </a:p>
        </p:txBody>
      </p:sp>
      <p:sp>
        <p:nvSpPr>
          <p:cNvPr id="57" name="Oval 56">
            <a:extLst>
              <a:ext uri="{FF2B5EF4-FFF2-40B4-BE49-F238E27FC236}">
                <a16:creationId xmlns:a16="http://schemas.microsoft.com/office/drawing/2014/main" id="{DE223E6F-3A04-2D7E-346D-2041FFAC00C1}"/>
              </a:ext>
            </a:extLst>
          </p:cNvPr>
          <p:cNvSpPr/>
          <p:nvPr/>
        </p:nvSpPr>
        <p:spPr bwMode="auto">
          <a:xfrm>
            <a:off x="8294188" y="3229134"/>
            <a:ext cx="155146" cy="16031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59" name="Rectangle 58">
            <a:extLst>
              <a:ext uri="{FF2B5EF4-FFF2-40B4-BE49-F238E27FC236}">
                <a16:creationId xmlns:a16="http://schemas.microsoft.com/office/drawing/2014/main" id="{6E3381D2-F760-C9B8-0D46-FC190F388CE7}"/>
              </a:ext>
            </a:extLst>
          </p:cNvPr>
          <p:cNvSpPr/>
          <p:nvPr/>
        </p:nvSpPr>
        <p:spPr>
          <a:xfrm>
            <a:off x="8505786" y="3250877"/>
            <a:ext cx="2388433" cy="99991"/>
          </a:xfrm>
          <a:prstGeom prst="rect">
            <a:avLst/>
          </a:prstGeom>
          <a:solidFill>
            <a:srgbClr val="00B0F0">
              <a:alpha val="50196"/>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58" name="Flowchart: Decision 57">
            <a:extLst>
              <a:ext uri="{FF2B5EF4-FFF2-40B4-BE49-F238E27FC236}">
                <a16:creationId xmlns:a16="http://schemas.microsoft.com/office/drawing/2014/main" id="{B7C0B01E-AFC8-138D-E48F-8986D47068E3}"/>
              </a:ext>
            </a:extLst>
          </p:cNvPr>
          <p:cNvSpPr/>
          <p:nvPr/>
        </p:nvSpPr>
        <p:spPr bwMode="auto">
          <a:xfrm>
            <a:off x="8435789" y="3229311"/>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60" name="TextBox 59">
            <a:extLst>
              <a:ext uri="{FF2B5EF4-FFF2-40B4-BE49-F238E27FC236}">
                <a16:creationId xmlns:a16="http://schemas.microsoft.com/office/drawing/2014/main" id="{70E9C1A5-622D-6546-1AD0-DC3C9FBC7C0C}"/>
              </a:ext>
            </a:extLst>
          </p:cNvPr>
          <p:cNvSpPr txBox="1"/>
          <p:nvPr/>
        </p:nvSpPr>
        <p:spPr>
          <a:xfrm>
            <a:off x="9198434" y="3393817"/>
            <a:ext cx="757192" cy="184666"/>
          </a:xfrm>
          <a:prstGeom prst="rect">
            <a:avLst/>
          </a:prstGeom>
          <a:noFill/>
        </p:spPr>
        <p:txBody>
          <a:bodyPr wrap="square" lIns="0" tIns="0" rIns="0" bIns="0" rtlCol="0">
            <a:spAutoFit/>
          </a:bodyPr>
          <a:lstStyle/>
          <a:p>
            <a:pPr algn="ctr"/>
            <a:r>
              <a:rPr lang="en-US" sz="600">
                <a:solidFill>
                  <a:schemeClr val="accent4"/>
                </a:solidFill>
              </a:rPr>
              <a:t>Transition‑Period Monitoring</a:t>
            </a:r>
          </a:p>
        </p:txBody>
      </p:sp>
      <p:sp>
        <p:nvSpPr>
          <p:cNvPr id="61" name="Flowchart: Decision 60">
            <a:extLst>
              <a:ext uri="{FF2B5EF4-FFF2-40B4-BE49-F238E27FC236}">
                <a16:creationId xmlns:a16="http://schemas.microsoft.com/office/drawing/2014/main" id="{888906E5-8925-B1D3-8FF4-CAAF8F59DF16}"/>
              </a:ext>
            </a:extLst>
          </p:cNvPr>
          <p:cNvSpPr/>
          <p:nvPr/>
        </p:nvSpPr>
        <p:spPr bwMode="auto">
          <a:xfrm>
            <a:off x="10838639" y="3223450"/>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65" name="Flowchart: Decision 64">
            <a:extLst>
              <a:ext uri="{FF2B5EF4-FFF2-40B4-BE49-F238E27FC236}">
                <a16:creationId xmlns:a16="http://schemas.microsoft.com/office/drawing/2014/main" id="{C2AC52E8-2CB6-6BFA-53FE-41B90BC5A89B}"/>
              </a:ext>
            </a:extLst>
          </p:cNvPr>
          <p:cNvSpPr/>
          <p:nvPr/>
        </p:nvSpPr>
        <p:spPr bwMode="auto">
          <a:xfrm>
            <a:off x="3598551" y="3724086"/>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66" name="TextBox 65">
            <a:extLst>
              <a:ext uri="{FF2B5EF4-FFF2-40B4-BE49-F238E27FC236}">
                <a16:creationId xmlns:a16="http://schemas.microsoft.com/office/drawing/2014/main" id="{AFB91066-C58E-4CE0-BA8C-9F98E94E7CA8}"/>
              </a:ext>
            </a:extLst>
          </p:cNvPr>
          <p:cNvSpPr txBox="1"/>
          <p:nvPr/>
        </p:nvSpPr>
        <p:spPr>
          <a:xfrm>
            <a:off x="3061136" y="3895664"/>
            <a:ext cx="743558" cy="184666"/>
          </a:xfrm>
          <a:prstGeom prst="rect">
            <a:avLst/>
          </a:prstGeom>
          <a:noFill/>
        </p:spPr>
        <p:txBody>
          <a:bodyPr wrap="square" lIns="0" tIns="0" rIns="0" bIns="0" rtlCol="0">
            <a:spAutoFit/>
          </a:bodyPr>
          <a:lstStyle/>
          <a:p>
            <a:r>
              <a:rPr lang="en-US" sz="600">
                <a:solidFill>
                  <a:schemeClr val="accent4"/>
                </a:solidFill>
              </a:rPr>
              <a:t>Reporting Impact Inventory Published</a:t>
            </a:r>
          </a:p>
        </p:txBody>
      </p:sp>
      <p:sp>
        <p:nvSpPr>
          <p:cNvPr id="68" name="TextBox 67">
            <a:extLst>
              <a:ext uri="{FF2B5EF4-FFF2-40B4-BE49-F238E27FC236}">
                <a16:creationId xmlns:a16="http://schemas.microsoft.com/office/drawing/2014/main" id="{AE3C0BCA-D6E8-B01E-6235-E17725BE2565}"/>
              </a:ext>
            </a:extLst>
          </p:cNvPr>
          <p:cNvSpPr txBox="1"/>
          <p:nvPr/>
        </p:nvSpPr>
        <p:spPr>
          <a:xfrm>
            <a:off x="3936656" y="3896536"/>
            <a:ext cx="880271" cy="184666"/>
          </a:xfrm>
          <a:prstGeom prst="rect">
            <a:avLst/>
          </a:prstGeom>
          <a:noFill/>
        </p:spPr>
        <p:txBody>
          <a:bodyPr wrap="square" lIns="0" tIns="0" rIns="0" bIns="0" rtlCol="0">
            <a:spAutoFit/>
          </a:bodyPr>
          <a:lstStyle/>
          <a:p>
            <a:r>
              <a:rPr lang="en-US" sz="600" b="1">
                <a:solidFill>
                  <a:schemeClr val="accent4"/>
                </a:solidFill>
              </a:rPr>
              <a:t>Updated Reporting Specifications Available</a:t>
            </a:r>
          </a:p>
        </p:txBody>
      </p:sp>
      <p:sp>
        <p:nvSpPr>
          <p:cNvPr id="70" name="TextBox 69">
            <a:extLst>
              <a:ext uri="{FF2B5EF4-FFF2-40B4-BE49-F238E27FC236}">
                <a16:creationId xmlns:a16="http://schemas.microsoft.com/office/drawing/2014/main" id="{A7B88978-F6AF-E92E-B930-9B0DCFDE0EA3}"/>
              </a:ext>
            </a:extLst>
          </p:cNvPr>
          <p:cNvSpPr txBox="1"/>
          <p:nvPr/>
        </p:nvSpPr>
        <p:spPr>
          <a:xfrm>
            <a:off x="5985310" y="3863055"/>
            <a:ext cx="743558" cy="184666"/>
          </a:xfrm>
          <a:prstGeom prst="rect">
            <a:avLst/>
          </a:prstGeom>
          <a:noFill/>
        </p:spPr>
        <p:txBody>
          <a:bodyPr wrap="square" lIns="0" tIns="0" rIns="0" bIns="0" rtlCol="0">
            <a:spAutoFit/>
          </a:bodyPr>
          <a:lstStyle/>
          <a:p>
            <a:r>
              <a:rPr lang="en-US" sz="600">
                <a:solidFill>
                  <a:schemeClr val="accent4"/>
                </a:solidFill>
              </a:rPr>
              <a:t>Parallel Reporting Testing Begins</a:t>
            </a:r>
          </a:p>
        </p:txBody>
      </p:sp>
      <p:sp>
        <p:nvSpPr>
          <p:cNvPr id="71" name="Rectangle 70">
            <a:extLst>
              <a:ext uri="{FF2B5EF4-FFF2-40B4-BE49-F238E27FC236}">
                <a16:creationId xmlns:a16="http://schemas.microsoft.com/office/drawing/2014/main" id="{E93C46FD-0CC7-7CF8-2A29-C218C00B747B}"/>
              </a:ext>
            </a:extLst>
          </p:cNvPr>
          <p:cNvSpPr/>
          <p:nvPr/>
        </p:nvSpPr>
        <p:spPr>
          <a:xfrm>
            <a:off x="6274071" y="3718521"/>
            <a:ext cx="2104653" cy="11758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69" name="Oval 68">
            <a:extLst>
              <a:ext uri="{FF2B5EF4-FFF2-40B4-BE49-F238E27FC236}">
                <a16:creationId xmlns:a16="http://schemas.microsoft.com/office/drawing/2014/main" id="{C1DA0F02-1B68-C7AF-E9D9-006C4F731A83}"/>
              </a:ext>
            </a:extLst>
          </p:cNvPr>
          <p:cNvSpPr/>
          <p:nvPr/>
        </p:nvSpPr>
        <p:spPr bwMode="auto">
          <a:xfrm>
            <a:off x="6208555" y="3691476"/>
            <a:ext cx="155146" cy="16031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72" name="TextBox 71">
            <a:extLst>
              <a:ext uri="{FF2B5EF4-FFF2-40B4-BE49-F238E27FC236}">
                <a16:creationId xmlns:a16="http://schemas.microsoft.com/office/drawing/2014/main" id="{ECC308A5-535B-C447-DF5D-B1030E696720}"/>
              </a:ext>
            </a:extLst>
          </p:cNvPr>
          <p:cNvSpPr txBox="1"/>
          <p:nvPr/>
        </p:nvSpPr>
        <p:spPr>
          <a:xfrm>
            <a:off x="7944650" y="3839544"/>
            <a:ext cx="743558" cy="276999"/>
          </a:xfrm>
          <a:prstGeom prst="rect">
            <a:avLst/>
          </a:prstGeom>
          <a:noFill/>
        </p:spPr>
        <p:txBody>
          <a:bodyPr wrap="square" lIns="0" tIns="0" rIns="0" bIns="0" rtlCol="0">
            <a:spAutoFit/>
          </a:bodyPr>
          <a:lstStyle/>
          <a:p>
            <a:r>
              <a:rPr lang="en-US" sz="600">
                <a:solidFill>
                  <a:schemeClr val="accent4"/>
                </a:solidFill>
              </a:rPr>
              <a:t>Reporting Reconciliation Complete</a:t>
            </a:r>
          </a:p>
        </p:txBody>
      </p:sp>
      <p:sp>
        <p:nvSpPr>
          <p:cNvPr id="73" name="Oval 72">
            <a:extLst>
              <a:ext uri="{FF2B5EF4-FFF2-40B4-BE49-F238E27FC236}">
                <a16:creationId xmlns:a16="http://schemas.microsoft.com/office/drawing/2014/main" id="{397B3AD3-3934-3295-642A-B99677ECB30E}"/>
              </a:ext>
            </a:extLst>
          </p:cNvPr>
          <p:cNvSpPr/>
          <p:nvPr/>
        </p:nvSpPr>
        <p:spPr bwMode="auto">
          <a:xfrm>
            <a:off x="8291476" y="3699964"/>
            <a:ext cx="155146" cy="16031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74" name="TextBox 73">
            <a:extLst>
              <a:ext uri="{FF2B5EF4-FFF2-40B4-BE49-F238E27FC236}">
                <a16:creationId xmlns:a16="http://schemas.microsoft.com/office/drawing/2014/main" id="{033A08E1-D2E8-7F88-793B-14C8BEA34366}"/>
              </a:ext>
            </a:extLst>
          </p:cNvPr>
          <p:cNvSpPr txBox="1"/>
          <p:nvPr/>
        </p:nvSpPr>
        <p:spPr>
          <a:xfrm>
            <a:off x="8583190" y="3700002"/>
            <a:ext cx="743558" cy="184666"/>
          </a:xfrm>
          <a:prstGeom prst="rect">
            <a:avLst/>
          </a:prstGeom>
          <a:noFill/>
        </p:spPr>
        <p:txBody>
          <a:bodyPr wrap="square" lIns="0" tIns="0" rIns="0" bIns="0" rtlCol="0">
            <a:spAutoFit/>
          </a:bodyPr>
          <a:lstStyle/>
          <a:p>
            <a:r>
              <a:rPr lang="en-US" sz="600">
                <a:solidFill>
                  <a:schemeClr val="accent4"/>
                </a:solidFill>
              </a:rPr>
              <a:t>Reporting Sign‑Off / Risk Acceptance</a:t>
            </a:r>
          </a:p>
        </p:txBody>
      </p:sp>
      <p:sp>
        <p:nvSpPr>
          <p:cNvPr id="75" name="Oval 74">
            <a:extLst>
              <a:ext uri="{FF2B5EF4-FFF2-40B4-BE49-F238E27FC236}">
                <a16:creationId xmlns:a16="http://schemas.microsoft.com/office/drawing/2014/main" id="{0F666186-7086-8EDC-2121-21CAC79FB58A}"/>
              </a:ext>
            </a:extLst>
          </p:cNvPr>
          <p:cNvSpPr/>
          <p:nvPr/>
        </p:nvSpPr>
        <p:spPr bwMode="auto">
          <a:xfrm>
            <a:off x="8412694" y="3698653"/>
            <a:ext cx="155146" cy="16031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77" name="TextBox 76">
            <a:extLst>
              <a:ext uri="{FF2B5EF4-FFF2-40B4-BE49-F238E27FC236}">
                <a16:creationId xmlns:a16="http://schemas.microsoft.com/office/drawing/2014/main" id="{8A8EEEE8-F213-2F9B-EEFE-2CD7E0B44E8F}"/>
              </a:ext>
            </a:extLst>
          </p:cNvPr>
          <p:cNvSpPr txBox="1"/>
          <p:nvPr/>
        </p:nvSpPr>
        <p:spPr>
          <a:xfrm>
            <a:off x="9149389" y="3901483"/>
            <a:ext cx="743558" cy="184666"/>
          </a:xfrm>
          <a:prstGeom prst="rect">
            <a:avLst/>
          </a:prstGeom>
          <a:noFill/>
        </p:spPr>
        <p:txBody>
          <a:bodyPr wrap="square" lIns="0" tIns="0" rIns="0" bIns="0" rtlCol="0">
            <a:spAutoFit/>
          </a:bodyPr>
          <a:lstStyle/>
          <a:p>
            <a:r>
              <a:rPr lang="en-US" sz="600">
                <a:solidFill>
                  <a:schemeClr val="accent4"/>
                </a:solidFill>
              </a:rPr>
              <a:t>Post‑Transition Reporting Review</a:t>
            </a:r>
          </a:p>
        </p:txBody>
      </p:sp>
      <p:sp>
        <p:nvSpPr>
          <p:cNvPr id="78" name="Flowchart: Decision 77">
            <a:extLst>
              <a:ext uri="{FF2B5EF4-FFF2-40B4-BE49-F238E27FC236}">
                <a16:creationId xmlns:a16="http://schemas.microsoft.com/office/drawing/2014/main" id="{3B795325-832E-8643-7A09-4A598090F4FE}"/>
              </a:ext>
            </a:extLst>
          </p:cNvPr>
          <p:cNvSpPr/>
          <p:nvPr/>
        </p:nvSpPr>
        <p:spPr bwMode="auto">
          <a:xfrm>
            <a:off x="9297980" y="3722612"/>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80" name="TextBox 79">
            <a:extLst>
              <a:ext uri="{FF2B5EF4-FFF2-40B4-BE49-F238E27FC236}">
                <a16:creationId xmlns:a16="http://schemas.microsoft.com/office/drawing/2014/main" id="{72937C64-BD11-8DA6-0F0B-8851E4F52AC4}"/>
              </a:ext>
            </a:extLst>
          </p:cNvPr>
          <p:cNvSpPr txBox="1"/>
          <p:nvPr/>
        </p:nvSpPr>
        <p:spPr>
          <a:xfrm>
            <a:off x="3370001" y="4327202"/>
            <a:ext cx="822609" cy="276999"/>
          </a:xfrm>
          <a:prstGeom prst="rect">
            <a:avLst/>
          </a:prstGeom>
          <a:noFill/>
        </p:spPr>
        <p:txBody>
          <a:bodyPr wrap="square" lIns="0" tIns="0" rIns="0" bIns="0" rtlCol="0">
            <a:spAutoFit/>
          </a:bodyPr>
          <a:lstStyle/>
          <a:p>
            <a:r>
              <a:rPr lang="en-US" sz="600">
                <a:solidFill>
                  <a:schemeClr val="accent4"/>
                </a:solidFill>
              </a:rPr>
              <a:t>Vendor Impact Expectations Communicated</a:t>
            </a:r>
          </a:p>
        </p:txBody>
      </p:sp>
      <p:sp>
        <p:nvSpPr>
          <p:cNvPr id="84" name="TextBox 83">
            <a:extLst>
              <a:ext uri="{FF2B5EF4-FFF2-40B4-BE49-F238E27FC236}">
                <a16:creationId xmlns:a16="http://schemas.microsoft.com/office/drawing/2014/main" id="{0F0BC822-7E96-EFFC-E39C-5A43051BBEF8}"/>
              </a:ext>
            </a:extLst>
          </p:cNvPr>
          <p:cNvSpPr txBox="1"/>
          <p:nvPr/>
        </p:nvSpPr>
        <p:spPr>
          <a:xfrm>
            <a:off x="4357219" y="4382713"/>
            <a:ext cx="822609" cy="184666"/>
          </a:xfrm>
          <a:prstGeom prst="rect">
            <a:avLst/>
          </a:prstGeom>
          <a:noFill/>
        </p:spPr>
        <p:txBody>
          <a:bodyPr wrap="square" lIns="0" tIns="0" rIns="0" bIns="0" rtlCol="0">
            <a:spAutoFit/>
          </a:bodyPr>
          <a:lstStyle/>
          <a:p>
            <a:r>
              <a:rPr lang="en-US" sz="600" b="1">
                <a:solidFill>
                  <a:schemeClr val="accent4"/>
                </a:solidFill>
              </a:rPr>
              <a:t>Vendor Inventory &amp; Ownership Confirmed</a:t>
            </a:r>
          </a:p>
        </p:txBody>
      </p:sp>
      <p:sp>
        <p:nvSpPr>
          <p:cNvPr id="88" name="TextBox 87">
            <a:extLst>
              <a:ext uri="{FF2B5EF4-FFF2-40B4-BE49-F238E27FC236}">
                <a16:creationId xmlns:a16="http://schemas.microsoft.com/office/drawing/2014/main" id="{ECC7D8CD-A2F6-7C8F-AFAC-8B6E1340CFB5}"/>
              </a:ext>
            </a:extLst>
          </p:cNvPr>
          <p:cNvSpPr txBox="1"/>
          <p:nvPr/>
        </p:nvSpPr>
        <p:spPr>
          <a:xfrm>
            <a:off x="5388653" y="4384488"/>
            <a:ext cx="822609" cy="184666"/>
          </a:xfrm>
          <a:prstGeom prst="rect">
            <a:avLst/>
          </a:prstGeom>
          <a:noFill/>
        </p:spPr>
        <p:txBody>
          <a:bodyPr wrap="square" lIns="0" tIns="0" rIns="0" bIns="0" rtlCol="0">
            <a:spAutoFit/>
          </a:bodyPr>
          <a:lstStyle/>
          <a:p>
            <a:r>
              <a:rPr lang="en-US" sz="600" b="1">
                <a:solidFill>
                  <a:schemeClr val="accent4"/>
                </a:solidFill>
              </a:rPr>
              <a:t>Vendor Readiness Confirmed</a:t>
            </a:r>
          </a:p>
        </p:txBody>
      </p:sp>
      <p:sp>
        <p:nvSpPr>
          <p:cNvPr id="90" name="TextBox 89">
            <a:extLst>
              <a:ext uri="{FF2B5EF4-FFF2-40B4-BE49-F238E27FC236}">
                <a16:creationId xmlns:a16="http://schemas.microsoft.com/office/drawing/2014/main" id="{47DE9CFD-9F01-0689-5544-DE8A3C8052FD}"/>
              </a:ext>
            </a:extLst>
          </p:cNvPr>
          <p:cNvSpPr txBox="1"/>
          <p:nvPr/>
        </p:nvSpPr>
        <p:spPr>
          <a:xfrm>
            <a:off x="6163267" y="4372714"/>
            <a:ext cx="848907" cy="184666"/>
          </a:xfrm>
          <a:prstGeom prst="rect">
            <a:avLst/>
          </a:prstGeom>
          <a:noFill/>
        </p:spPr>
        <p:txBody>
          <a:bodyPr wrap="square" lIns="0" tIns="0" rIns="0" bIns="0" rtlCol="0">
            <a:spAutoFit/>
          </a:bodyPr>
          <a:lstStyle/>
          <a:p>
            <a:r>
              <a:rPr lang="en-US" sz="600" b="1">
                <a:solidFill>
                  <a:schemeClr val="accent4"/>
                </a:solidFill>
              </a:rPr>
              <a:t>Vendor Testing (if applicable)</a:t>
            </a:r>
          </a:p>
        </p:txBody>
      </p:sp>
      <p:sp>
        <p:nvSpPr>
          <p:cNvPr id="94" name="Star: 5 Points 93">
            <a:extLst>
              <a:ext uri="{FF2B5EF4-FFF2-40B4-BE49-F238E27FC236}">
                <a16:creationId xmlns:a16="http://schemas.microsoft.com/office/drawing/2014/main" id="{FCF4B190-0D44-FEC2-0E53-E268743BC91A}"/>
              </a:ext>
            </a:extLst>
          </p:cNvPr>
          <p:cNvSpPr/>
          <p:nvPr/>
        </p:nvSpPr>
        <p:spPr bwMode="auto">
          <a:xfrm>
            <a:off x="6220612" y="4206357"/>
            <a:ext cx="164592" cy="164592"/>
          </a:xfrm>
          <a:prstGeom prst="star5">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95" name="TextBox 94">
            <a:extLst>
              <a:ext uri="{FF2B5EF4-FFF2-40B4-BE49-F238E27FC236}">
                <a16:creationId xmlns:a16="http://schemas.microsoft.com/office/drawing/2014/main" id="{A76F2FF0-F21C-687E-4C05-4D0248795E00}"/>
              </a:ext>
            </a:extLst>
          </p:cNvPr>
          <p:cNvSpPr txBox="1"/>
          <p:nvPr/>
        </p:nvSpPr>
        <p:spPr>
          <a:xfrm>
            <a:off x="8081332" y="4373578"/>
            <a:ext cx="848907" cy="184666"/>
          </a:xfrm>
          <a:prstGeom prst="rect">
            <a:avLst/>
          </a:prstGeom>
          <a:noFill/>
        </p:spPr>
        <p:txBody>
          <a:bodyPr wrap="square" lIns="0" tIns="0" rIns="0" bIns="0" rtlCol="0">
            <a:spAutoFit/>
          </a:bodyPr>
          <a:lstStyle/>
          <a:p>
            <a:r>
              <a:rPr lang="en-US" sz="600">
                <a:solidFill>
                  <a:schemeClr val="accent4"/>
                </a:solidFill>
              </a:rPr>
              <a:t>Vendor Risk Mitigation Finalized</a:t>
            </a:r>
          </a:p>
        </p:txBody>
      </p:sp>
      <p:sp>
        <p:nvSpPr>
          <p:cNvPr id="99" name="Isosceles Triangle 98">
            <a:extLst>
              <a:ext uri="{FF2B5EF4-FFF2-40B4-BE49-F238E27FC236}">
                <a16:creationId xmlns:a16="http://schemas.microsoft.com/office/drawing/2014/main" id="{F4835E6E-CD7F-2C96-999F-6E044FC9AB78}"/>
              </a:ext>
            </a:extLst>
          </p:cNvPr>
          <p:cNvSpPr/>
          <p:nvPr/>
        </p:nvSpPr>
        <p:spPr bwMode="auto">
          <a:xfrm>
            <a:off x="8304578" y="4201999"/>
            <a:ext cx="137160" cy="137160"/>
          </a:xfrm>
          <a:prstGeom prst="triangle">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02" name="TextBox 101">
            <a:extLst>
              <a:ext uri="{FF2B5EF4-FFF2-40B4-BE49-F238E27FC236}">
                <a16:creationId xmlns:a16="http://schemas.microsoft.com/office/drawing/2014/main" id="{27A776CB-ACC7-5650-880B-D144990D6ECD}"/>
              </a:ext>
            </a:extLst>
          </p:cNvPr>
          <p:cNvSpPr txBox="1"/>
          <p:nvPr/>
        </p:nvSpPr>
        <p:spPr>
          <a:xfrm>
            <a:off x="10730034" y="4379439"/>
            <a:ext cx="848907" cy="184666"/>
          </a:xfrm>
          <a:prstGeom prst="rect">
            <a:avLst/>
          </a:prstGeom>
          <a:noFill/>
        </p:spPr>
        <p:txBody>
          <a:bodyPr wrap="square" lIns="0" tIns="0" rIns="0" bIns="0" rtlCol="0">
            <a:spAutoFit/>
          </a:bodyPr>
          <a:lstStyle/>
          <a:p>
            <a:r>
              <a:rPr lang="en-US" sz="600" b="1">
                <a:solidFill>
                  <a:schemeClr val="accent4"/>
                </a:solidFill>
              </a:rPr>
              <a:t>Vendor Steady‑State Confirmed</a:t>
            </a:r>
          </a:p>
        </p:txBody>
      </p:sp>
      <p:sp>
        <p:nvSpPr>
          <p:cNvPr id="103" name="Star: 5 Points 102">
            <a:extLst>
              <a:ext uri="{FF2B5EF4-FFF2-40B4-BE49-F238E27FC236}">
                <a16:creationId xmlns:a16="http://schemas.microsoft.com/office/drawing/2014/main" id="{8B2CADB1-4482-1EB6-7D91-6FC0D3E98894}"/>
              </a:ext>
            </a:extLst>
          </p:cNvPr>
          <p:cNvSpPr/>
          <p:nvPr/>
        </p:nvSpPr>
        <p:spPr bwMode="auto">
          <a:xfrm>
            <a:off x="10953280" y="4207860"/>
            <a:ext cx="164592" cy="164592"/>
          </a:xfrm>
          <a:prstGeom prst="star5">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grpSp>
        <p:nvGrpSpPr>
          <p:cNvPr id="29" name="Group 28">
            <a:extLst>
              <a:ext uri="{FF2B5EF4-FFF2-40B4-BE49-F238E27FC236}">
                <a16:creationId xmlns:a16="http://schemas.microsoft.com/office/drawing/2014/main" id="{9DEFAA84-E5F8-C9AD-45AB-CA610703BE89}"/>
              </a:ext>
            </a:extLst>
          </p:cNvPr>
          <p:cNvGrpSpPr/>
          <p:nvPr/>
        </p:nvGrpSpPr>
        <p:grpSpPr>
          <a:xfrm>
            <a:off x="3911155" y="5141070"/>
            <a:ext cx="822609" cy="408951"/>
            <a:chOff x="3830315" y="5141070"/>
            <a:chExt cx="822609" cy="408951"/>
          </a:xfrm>
        </p:grpSpPr>
        <p:sp>
          <p:nvSpPr>
            <p:cNvPr id="104" name="Flowchart: Decision 103">
              <a:extLst>
                <a:ext uri="{FF2B5EF4-FFF2-40B4-BE49-F238E27FC236}">
                  <a16:creationId xmlns:a16="http://schemas.microsoft.com/office/drawing/2014/main" id="{614C5C33-8DEA-40E8-4C85-0206F1997EDC}"/>
                </a:ext>
              </a:extLst>
            </p:cNvPr>
            <p:cNvSpPr/>
            <p:nvPr/>
          </p:nvSpPr>
          <p:spPr bwMode="auto">
            <a:xfrm>
              <a:off x="4309899" y="5141070"/>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05" name="TextBox 104">
              <a:extLst>
                <a:ext uri="{FF2B5EF4-FFF2-40B4-BE49-F238E27FC236}">
                  <a16:creationId xmlns:a16="http://schemas.microsoft.com/office/drawing/2014/main" id="{C60625DE-8D92-9740-0E3F-2E4AA51270CE}"/>
                </a:ext>
              </a:extLst>
            </p:cNvPr>
            <p:cNvSpPr txBox="1"/>
            <p:nvPr/>
          </p:nvSpPr>
          <p:spPr>
            <a:xfrm>
              <a:off x="3830315" y="5273022"/>
              <a:ext cx="822609" cy="276999"/>
            </a:xfrm>
            <a:prstGeom prst="rect">
              <a:avLst/>
            </a:prstGeom>
            <a:noFill/>
          </p:spPr>
          <p:txBody>
            <a:bodyPr wrap="square" lIns="0" tIns="0" rIns="0" bIns="0" rtlCol="0">
              <a:spAutoFit/>
            </a:bodyPr>
            <a:lstStyle/>
            <a:p>
              <a:r>
                <a:rPr lang="en-US" sz="600">
                  <a:solidFill>
                    <a:schemeClr val="accent4"/>
                  </a:solidFill>
                </a:rPr>
                <a:t>CADF Scope &amp; Expectations Communicated</a:t>
              </a:r>
            </a:p>
          </p:txBody>
        </p:sp>
      </p:grpSp>
      <p:sp>
        <p:nvSpPr>
          <p:cNvPr id="121" name="TextBox 120">
            <a:extLst>
              <a:ext uri="{FF2B5EF4-FFF2-40B4-BE49-F238E27FC236}">
                <a16:creationId xmlns:a16="http://schemas.microsoft.com/office/drawing/2014/main" id="{324FC7F0-8997-83A2-BC53-8D31FF42EFF4}"/>
              </a:ext>
            </a:extLst>
          </p:cNvPr>
          <p:cNvSpPr txBox="1"/>
          <p:nvPr/>
        </p:nvSpPr>
        <p:spPr>
          <a:xfrm>
            <a:off x="5931894" y="5368344"/>
            <a:ext cx="822609" cy="184666"/>
          </a:xfrm>
          <a:prstGeom prst="rect">
            <a:avLst/>
          </a:prstGeom>
          <a:noFill/>
        </p:spPr>
        <p:txBody>
          <a:bodyPr wrap="square" lIns="0" tIns="0" rIns="0" bIns="0" rtlCol="0">
            <a:spAutoFit/>
          </a:bodyPr>
          <a:lstStyle/>
          <a:p>
            <a:r>
              <a:rPr lang="en-US" sz="600">
                <a:solidFill>
                  <a:schemeClr val="accent4"/>
                </a:solidFill>
              </a:rPr>
              <a:t>CADF Testing Window Open</a:t>
            </a:r>
          </a:p>
        </p:txBody>
      </p:sp>
      <p:sp>
        <p:nvSpPr>
          <p:cNvPr id="122" name="Rectangle 121">
            <a:extLst>
              <a:ext uri="{FF2B5EF4-FFF2-40B4-BE49-F238E27FC236}">
                <a16:creationId xmlns:a16="http://schemas.microsoft.com/office/drawing/2014/main" id="{8D3CD5B8-880A-6776-189B-A91FDE5AD189}"/>
              </a:ext>
            </a:extLst>
          </p:cNvPr>
          <p:cNvSpPr/>
          <p:nvPr/>
        </p:nvSpPr>
        <p:spPr>
          <a:xfrm>
            <a:off x="6285057" y="5188785"/>
            <a:ext cx="2104653" cy="11758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10" name="Oval 109">
            <a:extLst>
              <a:ext uri="{FF2B5EF4-FFF2-40B4-BE49-F238E27FC236}">
                <a16:creationId xmlns:a16="http://schemas.microsoft.com/office/drawing/2014/main" id="{73A1FDC6-FA3F-580F-09CB-2308151D725A}"/>
              </a:ext>
            </a:extLst>
          </p:cNvPr>
          <p:cNvSpPr/>
          <p:nvPr/>
        </p:nvSpPr>
        <p:spPr bwMode="auto">
          <a:xfrm>
            <a:off x="6208555" y="5170675"/>
            <a:ext cx="155146" cy="16031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41" name="TextBox 140">
            <a:extLst>
              <a:ext uri="{FF2B5EF4-FFF2-40B4-BE49-F238E27FC236}">
                <a16:creationId xmlns:a16="http://schemas.microsoft.com/office/drawing/2014/main" id="{BC07EF2E-C304-FBB8-6737-3990066F52EF}"/>
              </a:ext>
            </a:extLst>
          </p:cNvPr>
          <p:cNvSpPr txBox="1"/>
          <p:nvPr/>
        </p:nvSpPr>
        <p:spPr>
          <a:xfrm>
            <a:off x="8017116" y="5363431"/>
            <a:ext cx="822609" cy="184666"/>
          </a:xfrm>
          <a:prstGeom prst="rect">
            <a:avLst/>
          </a:prstGeom>
          <a:noFill/>
        </p:spPr>
        <p:txBody>
          <a:bodyPr wrap="square" lIns="0" tIns="0" rIns="0" bIns="0" rtlCol="0">
            <a:spAutoFit/>
          </a:bodyPr>
          <a:lstStyle/>
          <a:p>
            <a:r>
              <a:rPr lang="en-US" sz="600">
                <a:solidFill>
                  <a:schemeClr val="accent4"/>
                </a:solidFill>
              </a:rPr>
              <a:t>CADF Validation Complete</a:t>
            </a:r>
          </a:p>
        </p:txBody>
      </p:sp>
      <p:sp>
        <p:nvSpPr>
          <p:cNvPr id="142" name="Oval 141">
            <a:extLst>
              <a:ext uri="{FF2B5EF4-FFF2-40B4-BE49-F238E27FC236}">
                <a16:creationId xmlns:a16="http://schemas.microsoft.com/office/drawing/2014/main" id="{F23899E8-9E72-E0AA-770B-3894973FD4CC}"/>
              </a:ext>
            </a:extLst>
          </p:cNvPr>
          <p:cNvSpPr/>
          <p:nvPr/>
        </p:nvSpPr>
        <p:spPr bwMode="auto">
          <a:xfrm>
            <a:off x="8293777" y="5165762"/>
            <a:ext cx="155146" cy="16031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43" name="TextBox 142">
            <a:extLst>
              <a:ext uri="{FF2B5EF4-FFF2-40B4-BE49-F238E27FC236}">
                <a16:creationId xmlns:a16="http://schemas.microsoft.com/office/drawing/2014/main" id="{8C410D5E-8126-DE1A-E233-27D8310CCEB0}"/>
              </a:ext>
            </a:extLst>
          </p:cNvPr>
          <p:cNvSpPr txBox="1"/>
          <p:nvPr/>
        </p:nvSpPr>
        <p:spPr>
          <a:xfrm>
            <a:off x="6968644" y="5357596"/>
            <a:ext cx="822609" cy="184666"/>
          </a:xfrm>
          <a:prstGeom prst="rect">
            <a:avLst/>
          </a:prstGeom>
          <a:noFill/>
        </p:spPr>
        <p:txBody>
          <a:bodyPr wrap="square" lIns="0" tIns="0" rIns="0" bIns="0" rtlCol="0">
            <a:spAutoFit/>
          </a:bodyPr>
          <a:lstStyle/>
          <a:p>
            <a:r>
              <a:rPr lang="en-US" sz="600">
                <a:solidFill>
                  <a:schemeClr val="accent4"/>
                </a:solidFill>
              </a:rPr>
              <a:t>CADF Issue Triage &amp; Resolution</a:t>
            </a:r>
          </a:p>
        </p:txBody>
      </p:sp>
      <p:sp>
        <p:nvSpPr>
          <p:cNvPr id="144" name="Oval 143">
            <a:extLst>
              <a:ext uri="{FF2B5EF4-FFF2-40B4-BE49-F238E27FC236}">
                <a16:creationId xmlns:a16="http://schemas.microsoft.com/office/drawing/2014/main" id="{F766F4D9-ED3F-855B-E278-B631F8240294}"/>
              </a:ext>
            </a:extLst>
          </p:cNvPr>
          <p:cNvSpPr/>
          <p:nvPr/>
        </p:nvSpPr>
        <p:spPr bwMode="auto">
          <a:xfrm>
            <a:off x="7210133" y="5159927"/>
            <a:ext cx="155146" cy="16031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4" name="Flowchart: Decision 3">
            <a:extLst>
              <a:ext uri="{FF2B5EF4-FFF2-40B4-BE49-F238E27FC236}">
                <a16:creationId xmlns:a16="http://schemas.microsoft.com/office/drawing/2014/main" id="{C0791D22-190D-AA68-BFCE-55BB0B4C3BEA}"/>
              </a:ext>
            </a:extLst>
          </p:cNvPr>
          <p:cNvSpPr/>
          <p:nvPr/>
        </p:nvSpPr>
        <p:spPr bwMode="auto">
          <a:xfrm>
            <a:off x="5319266" y="4616311"/>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26" name="TextBox 25">
            <a:extLst>
              <a:ext uri="{FF2B5EF4-FFF2-40B4-BE49-F238E27FC236}">
                <a16:creationId xmlns:a16="http://schemas.microsoft.com/office/drawing/2014/main" id="{8CE7D491-D5BA-43B7-151A-D04EE49C265E}"/>
              </a:ext>
            </a:extLst>
          </p:cNvPr>
          <p:cNvSpPr txBox="1"/>
          <p:nvPr/>
        </p:nvSpPr>
        <p:spPr>
          <a:xfrm>
            <a:off x="5314891" y="4787649"/>
            <a:ext cx="457775" cy="461665"/>
          </a:xfrm>
          <a:prstGeom prst="rect">
            <a:avLst/>
          </a:prstGeom>
          <a:noFill/>
        </p:spPr>
        <p:txBody>
          <a:bodyPr wrap="square" lIns="0" tIns="0" rIns="0" bIns="0" rtlCol="0" anchor="t">
            <a:spAutoFit/>
          </a:bodyPr>
          <a:lstStyle/>
          <a:p>
            <a:r>
              <a:rPr lang="en-US" sz="600" dirty="0">
                <a:solidFill>
                  <a:schemeClr val="accent4"/>
                </a:solidFill>
              </a:rPr>
              <a:t>Pharmacy notification being sent re: IIN transition </a:t>
            </a:r>
          </a:p>
        </p:txBody>
      </p:sp>
      <p:sp>
        <p:nvSpPr>
          <p:cNvPr id="27" name="Star: 5 Points 26">
            <a:extLst>
              <a:ext uri="{FF2B5EF4-FFF2-40B4-BE49-F238E27FC236}">
                <a16:creationId xmlns:a16="http://schemas.microsoft.com/office/drawing/2014/main" id="{CC7672E6-6513-6B91-C45F-6EF9A7B8C919}"/>
              </a:ext>
            </a:extLst>
          </p:cNvPr>
          <p:cNvSpPr/>
          <p:nvPr/>
        </p:nvSpPr>
        <p:spPr bwMode="auto">
          <a:xfrm>
            <a:off x="5772668" y="4685944"/>
            <a:ext cx="164592" cy="164592"/>
          </a:xfrm>
          <a:prstGeom prst="star5">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28" name="TextBox 27">
            <a:extLst>
              <a:ext uri="{FF2B5EF4-FFF2-40B4-BE49-F238E27FC236}">
                <a16:creationId xmlns:a16="http://schemas.microsoft.com/office/drawing/2014/main" id="{41424B76-956C-F2B1-5A27-AE711FA9A3C2}"/>
              </a:ext>
            </a:extLst>
          </p:cNvPr>
          <p:cNvSpPr txBox="1"/>
          <p:nvPr/>
        </p:nvSpPr>
        <p:spPr>
          <a:xfrm>
            <a:off x="5808139" y="4882374"/>
            <a:ext cx="1154220" cy="184666"/>
          </a:xfrm>
          <a:prstGeom prst="rect">
            <a:avLst/>
          </a:prstGeom>
          <a:noFill/>
        </p:spPr>
        <p:txBody>
          <a:bodyPr wrap="square" lIns="0" tIns="0" rIns="0" bIns="0" rtlCol="0" anchor="t">
            <a:spAutoFit/>
          </a:bodyPr>
          <a:lstStyle/>
          <a:p>
            <a:r>
              <a:rPr lang="en-US" sz="600" b="1">
                <a:solidFill>
                  <a:schemeClr val="accent4"/>
                </a:solidFill>
              </a:rPr>
              <a:t>ID card reprints to reference IIN and 8-digit values</a:t>
            </a:r>
            <a:endParaRPr lang="en-US" sz="600" b="1">
              <a:solidFill>
                <a:schemeClr val="accent4"/>
              </a:solidFill>
              <a:cs typeface="Arial"/>
            </a:endParaRPr>
          </a:p>
        </p:txBody>
      </p:sp>
      <p:sp>
        <p:nvSpPr>
          <p:cNvPr id="112" name="TextBox 111">
            <a:extLst>
              <a:ext uri="{FF2B5EF4-FFF2-40B4-BE49-F238E27FC236}">
                <a16:creationId xmlns:a16="http://schemas.microsoft.com/office/drawing/2014/main" id="{AE43401A-6C68-F014-065D-49DC00665928}"/>
              </a:ext>
            </a:extLst>
          </p:cNvPr>
          <p:cNvSpPr txBox="1"/>
          <p:nvPr/>
        </p:nvSpPr>
        <p:spPr>
          <a:xfrm>
            <a:off x="3127660" y="2229492"/>
            <a:ext cx="912289" cy="184666"/>
          </a:xfrm>
          <a:prstGeom prst="rect">
            <a:avLst/>
          </a:prstGeom>
          <a:noFill/>
        </p:spPr>
        <p:txBody>
          <a:bodyPr wrap="square" lIns="0" tIns="0" rIns="0" bIns="0" rtlCol="0">
            <a:spAutoFit/>
          </a:bodyPr>
          <a:lstStyle>
            <a:defPPr>
              <a:defRPr lang="en-US"/>
            </a:defPPr>
            <a:lvl1pPr algn="ctr">
              <a:defRPr sz="600" b="1">
                <a:solidFill>
                  <a:schemeClr val="accent4"/>
                </a:solidFill>
              </a:defRPr>
            </a:lvl1pPr>
          </a:lstStyle>
          <a:p>
            <a:pPr algn="l"/>
            <a:r>
              <a:rPr lang="en-US"/>
              <a:t>Final Eligibility File Specifications Released</a:t>
            </a:r>
          </a:p>
        </p:txBody>
      </p:sp>
      <p:sp>
        <p:nvSpPr>
          <p:cNvPr id="117" name="Star: 5 Points 116">
            <a:extLst>
              <a:ext uri="{FF2B5EF4-FFF2-40B4-BE49-F238E27FC236}">
                <a16:creationId xmlns:a16="http://schemas.microsoft.com/office/drawing/2014/main" id="{163D05A8-983E-F478-D24D-1A4E82FCFD87}"/>
              </a:ext>
            </a:extLst>
          </p:cNvPr>
          <p:cNvSpPr/>
          <p:nvPr/>
        </p:nvSpPr>
        <p:spPr>
          <a:xfrm>
            <a:off x="2906651" y="2220773"/>
            <a:ext cx="164592" cy="164592"/>
          </a:xfrm>
          <a:prstGeom prst="star5">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118" name="Star: 5 Points 117">
            <a:extLst>
              <a:ext uri="{FF2B5EF4-FFF2-40B4-BE49-F238E27FC236}">
                <a16:creationId xmlns:a16="http://schemas.microsoft.com/office/drawing/2014/main" id="{7AB647B0-31B7-406E-FA72-43BED3987D63}"/>
              </a:ext>
            </a:extLst>
          </p:cNvPr>
          <p:cNvSpPr/>
          <p:nvPr/>
        </p:nvSpPr>
        <p:spPr>
          <a:xfrm>
            <a:off x="3128191" y="1770911"/>
            <a:ext cx="164592" cy="164592"/>
          </a:xfrm>
          <a:prstGeom prst="star5">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119" name="Star: 5 Points 118">
            <a:extLst>
              <a:ext uri="{FF2B5EF4-FFF2-40B4-BE49-F238E27FC236}">
                <a16:creationId xmlns:a16="http://schemas.microsoft.com/office/drawing/2014/main" id="{1BB64062-076B-8FDC-346D-240BB7CC5F1A}"/>
              </a:ext>
            </a:extLst>
          </p:cNvPr>
          <p:cNvSpPr/>
          <p:nvPr/>
        </p:nvSpPr>
        <p:spPr>
          <a:xfrm>
            <a:off x="4138018" y="3694823"/>
            <a:ext cx="164592" cy="164592"/>
          </a:xfrm>
          <a:prstGeom prst="star5">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120" name="Star: 5 Points 119">
            <a:extLst>
              <a:ext uri="{FF2B5EF4-FFF2-40B4-BE49-F238E27FC236}">
                <a16:creationId xmlns:a16="http://schemas.microsoft.com/office/drawing/2014/main" id="{6BFE6292-6DD2-CE9B-401C-A374E21B558E}"/>
              </a:ext>
            </a:extLst>
          </p:cNvPr>
          <p:cNvSpPr/>
          <p:nvPr/>
        </p:nvSpPr>
        <p:spPr>
          <a:xfrm>
            <a:off x="5612117" y="4189149"/>
            <a:ext cx="164592" cy="164592"/>
          </a:xfrm>
          <a:prstGeom prst="star5">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124" name="Oval 123">
            <a:extLst>
              <a:ext uri="{FF2B5EF4-FFF2-40B4-BE49-F238E27FC236}">
                <a16:creationId xmlns:a16="http://schemas.microsoft.com/office/drawing/2014/main" id="{270E9C20-0393-6DDC-F358-9561B8E739B4}"/>
              </a:ext>
            </a:extLst>
          </p:cNvPr>
          <p:cNvSpPr/>
          <p:nvPr/>
        </p:nvSpPr>
        <p:spPr>
          <a:xfrm>
            <a:off x="4689973" y="1775365"/>
            <a:ext cx="155448" cy="15544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26" name="TextBox 125">
            <a:extLst>
              <a:ext uri="{FF2B5EF4-FFF2-40B4-BE49-F238E27FC236}">
                <a16:creationId xmlns:a16="http://schemas.microsoft.com/office/drawing/2014/main" id="{67854030-3F95-04BC-95D0-2C039E3C0470}"/>
              </a:ext>
            </a:extLst>
          </p:cNvPr>
          <p:cNvSpPr txBox="1"/>
          <p:nvPr/>
        </p:nvSpPr>
        <p:spPr>
          <a:xfrm>
            <a:off x="3671812" y="1970245"/>
            <a:ext cx="743558" cy="184666"/>
          </a:xfrm>
          <a:prstGeom prst="rect">
            <a:avLst/>
          </a:prstGeom>
          <a:noFill/>
        </p:spPr>
        <p:txBody>
          <a:bodyPr wrap="square" lIns="0" tIns="0" rIns="0" bIns="0" rtlCol="0">
            <a:spAutoFit/>
          </a:bodyPr>
          <a:lstStyle/>
          <a:p>
            <a:r>
              <a:rPr lang="en-US" sz="600" b="1">
                <a:solidFill>
                  <a:schemeClr val="accent4"/>
                </a:solidFill>
              </a:rPr>
              <a:t>Client Billing Layout Decision Due</a:t>
            </a:r>
          </a:p>
        </p:txBody>
      </p:sp>
      <p:sp>
        <p:nvSpPr>
          <p:cNvPr id="128" name="TextBox 127">
            <a:extLst>
              <a:ext uri="{FF2B5EF4-FFF2-40B4-BE49-F238E27FC236}">
                <a16:creationId xmlns:a16="http://schemas.microsoft.com/office/drawing/2014/main" id="{34C6E643-94FE-9B3A-7A19-A1E78798AA26}"/>
              </a:ext>
            </a:extLst>
          </p:cNvPr>
          <p:cNvSpPr txBox="1"/>
          <p:nvPr/>
        </p:nvSpPr>
        <p:spPr>
          <a:xfrm>
            <a:off x="3136039" y="2471902"/>
            <a:ext cx="1172395" cy="184666"/>
          </a:xfrm>
          <a:prstGeom prst="rect">
            <a:avLst/>
          </a:prstGeom>
          <a:noFill/>
        </p:spPr>
        <p:txBody>
          <a:bodyPr wrap="square" lIns="0" tIns="0" rIns="0" bIns="0" rtlCol="0">
            <a:spAutoFit/>
          </a:bodyPr>
          <a:lstStyle/>
          <a:p>
            <a:r>
              <a:rPr lang="en-US" sz="600" b="1">
                <a:solidFill>
                  <a:schemeClr val="accent4"/>
                </a:solidFill>
              </a:rPr>
              <a:t>Begin Accepting Client Eligibility Layout Decisions</a:t>
            </a:r>
          </a:p>
        </p:txBody>
      </p:sp>
      <p:sp>
        <p:nvSpPr>
          <p:cNvPr id="131" name="TextBox 130">
            <a:extLst>
              <a:ext uri="{FF2B5EF4-FFF2-40B4-BE49-F238E27FC236}">
                <a16:creationId xmlns:a16="http://schemas.microsoft.com/office/drawing/2014/main" id="{8B012E07-3659-F2FB-6EF3-903ADFE000F1}"/>
              </a:ext>
            </a:extLst>
          </p:cNvPr>
          <p:cNvSpPr txBox="1"/>
          <p:nvPr/>
        </p:nvSpPr>
        <p:spPr>
          <a:xfrm>
            <a:off x="4614844" y="5329997"/>
            <a:ext cx="822609" cy="184666"/>
          </a:xfrm>
          <a:prstGeom prst="rect">
            <a:avLst/>
          </a:prstGeom>
          <a:noFill/>
        </p:spPr>
        <p:txBody>
          <a:bodyPr wrap="square" lIns="0" tIns="0" rIns="0" bIns="0" rtlCol="0">
            <a:spAutoFit/>
          </a:bodyPr>
          <a:lstStyle/>
          <a:p>
            <a:r>
              <a:rPr lang="en-US" sz="600">
                <a:solidFill>
                  <a:schemeClr val="accent4"/>
                </a:solidFill>
              </a:rPr>
              <a:t>CADF Client List Defined</a:t>
            </a:r>
          </a:p>
        </p:txBody>
      </p:sp>
      <p:sp>
        <p:nvSpPr>
          <p:cNvPr id="132" name="Star: 5 Points 131">
            <a:extLst>
              <a:ext uri="{FF2B5EF4-FFF2-40B4-BE49-F238E27FC236}">
                <a16:creationId xmlns:a16="http://schemas.microsoft.com/office/drawing/2014/main" id="{C25AE94D-889A-52A5-8ADB-BAB6F559AD67}"/>
              </a:ext>
            </a:extLst>
          </p:cNvPr>
          <p:cNvSpPr/>
          <p:nvPr/>
        </p:nvSpPr>
        <p:spPr>
          <a:xfrm>
            <a:off x="4782291" y="5133002"/>
            <a:ext cx="164592" cy="164592"/>
          </a:xfrm>
          <a:prstGeom prst="star5">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grpSp>
        <p:nvGrpSpPr>
          <p:cNvPr id="133" name="Group 132">
            <a:extLst>
              <a:ext uri="{FF2B5EF4-FFF2-40B4-BE49-F238E27FC236}">
                <a16:creationId xmlns:a16="http://schemas.microsoft.com/office/drawing/2014/main" id="{2EE3B8D7-B786-F97B-BE5E-2DD94CB9E097}"/>
              </a:ext>
            </a:extLst>
          </p:cNvPr>
          <p:cNvGrpSpPr/>
          <p:nvPr/>
        </p:nvGrpSpPr>
        <p:grpSpPr>
          <a:xfrm>
            <a:off x="2761195" y="5153288"/>
            <a:ext cx="822609" cy="332947"/>
            <a:chOff x="3579943" y="5141070"/>
            <a:chExt cx="822609" cy="332947"/>
          </a:xfrm>
        </p:grpSpPr>
        <p:sp>
          <p:nvSpPr>
            <p:cNvPr id="134" name="Flowchart: Decision 133">
              <a:extLst>
                <a:ext uri="{FF2B5EF4-FFF2-40B4-BE49-F238E27FC236}">
                  <a16:creationId xmlns:a16="http://schemas.microsoft.com/office/drawing/2014/main" id="{8251BC2C-F13B-5907-7B12-110008CF0F07}"/>
                </a:ext>
              </a:extLst>
            </p:cNvPr>
            <p:cNvSpPr/>
            <p:nvPr/>
          </p:nvSpPr>
          <p:spPr bwMode="auto">
            <a:xfrm>
              <a:off x="4059527" y="5141070"/>
              <a:ext cx="155448" cy="15544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35" name="TextBox 134">
              <a:extLst>
                <a:ext uri="{FF2B5EF4-FFF2-40B4-BE49-F238E27FC236}">
                  <a16:creationId xmlns:a16="http://schemas.microsoft.com/office/drawing/2014/main" id="{3E1081CE-91D9-AF95-8DB6-AB280C292A9D}"/>
                </a:ext>
              </a:extLst>
            </p:cNvPr>
            <p:cNvSpPr txBox="1"/>
            <p:nvPr/>
          </p:nvSpPr>
          <p:spPr>
            <a:xfrm>
              <a:off x="3579943" y="5289351"/>
              <a:ext cx="822609" cy="184666"/>
            </a:xfrm>
            <a:prstGeom prst="rect">
              <a:avLst/>
            </a:prstGeom>
            <a:noFill/>
          </p:spPr>
          <p:txBody>
            <a:bodyPr wrap="square" lIns="0" tIns="0" rIns="0" bIns="0" rtlCol="0">
              <a:spAutoFit/>
            </a:bodyPr>
            <a:lstStyle/>
            <a:p>
              <a:r>
                <a:rPr lang="en-US" sz="600">
                  <a:solidFill>
                    <a:schemeClr val="accent4"/>
                  </a:solidFill>
                </a:rPr>
                <a:t>Define New Client CADF impacts</a:t>
              </a:r>
            </a:p>
          </p:txBody>
        </p:sp>
      </p:grpSp>
      <p:sp>
        <p:nvSpPr>
          <p:cNvPr id="136" name="Rectangle 135">
            <a:extLst>
              <a:ext uri="{FF2B5EF4-FFF2-40B4-BE49-F238E27FC236}">
                <a16:creationId xmlns:a16="http://schemas.microsoft.com/office/drawing/2014/main" id="{D1C298E8-9E3B-BCC6-735A-65BCEC3C55E2}"/>
              </a:ext>
            </a:extLst>
          </p:cNvPr>
          <p:cNvSpPr/>
          <p:nvPr/>
        </p:nvSpPr>
        <p:spPr>
          <a:xfrm>
            <a:off x="6906007" y="2762949"/>
            <a:ext cx="2104653" cy="117586"/>
          </a:xfrm>
          <a:prstGeom prst="rect">
            <a:avLst/>
          </a:prstGeom>
          <a:solidFill>
            <a:srgbClr val="00B0F0">
              <a:alpha val="50196"/>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err="1"/>
          </a:p>
        </p:txBody>
      </p:sp>
      <p:sp>
        <p:nvSpPr>
          <p:cNvPr id="137" name="Flowchart: Decision 136">
            <a:extLst>
              <a:ext uri="{FF2B5EF4-FFF2-40B4-BE49-F238E27FC236}">
                <a16:creationId xmlns:a16="http://schemas.microsoft.com/office/drawing/2014/main" id="{1F44C385-7282-9FD4-19C0-F0AD28FEE160}"/>
              </a:ext>
            </a:extLst>
          </p:cNvPr>
          <p:cNvSpPr/>
          <p:nvPr/>
        </p:nvSpPr>
        <p:spPr bwMode="auto">
          <a:xfrm>
            <a:off x="6834384" y="2735940"/>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38" name="TextBox 137">
            <a:extLst>
              <a:ext uri="{FF2B5EF4-FFF2-40B4-BE49-F238E27FC236}">
                <a16:creationId xmlns:a16="http://schemas.microsoft.com/office/drawing/2014/main" id="{70FF67E0-3366-51EA-2EF8-43FC42A37775}"/>
              </a:ext>
            </a:extLst>
          </p:cNvPr>
          <p:cNvSpPr txBox="1"/>
          <p:nvPr/>
        </p:nvSpPr>
        <p:spPr>
          <a:xfrm>
            <a:off x="6562152" y="2949869"/>
            <a:ext cx="1044865" cy="184666"/>
          </a:xfrm>
          <a:prstGeom prst="rect">
            <a:avLst/>
          </a:prstGeom>
          <a:noFill/>
        </p:spPr>
        <p:txBody>
          <a:bodyPr wrap="square" lIns="0" tIns="0" rIns="0" bIns="0" rtlCol="0" anchor="t">
            <a:spAutoFit/>
          </a:bodyPr>
          <a:lstStyle/>
          <a:p>
            <a:pPr algn="ctr"/>
            <a:r>
              <a:rPr lang="en-US" sz="600">
                <a:solidFill>
                  <a:schemeClr val="accent4"/>
                </a:solidFill>
              </a:rPr>
              <a:t>Operations Testing </a:t>
            </a:r>
          </a:p>
          <a:p>
            <a:pPr algn="ctr"/>
            <a:r>
              <a:rPr lang="en-US" sz="600">
                <a:solidFill>
                  <a:schemeClr val="accent4"/>
                </a:solidFill>
              </a:rPr>
              <a:t>Window Open</a:t>
            </a:r>
          </a:p>
        </p:txBody>
      </p:sp>
      <p:sp>
        <p:nvSpPr>
          <p:cNvPr id="45" name="Flowchart: Decision 44">
            <a:extLst>
              <a:ext uri="{FF2B5EF4-FFF2-40B4-BE49-F238E27FC236}">
                <a16:creationId xmlns:a16="http://schemas.microsoft.com/office/drawing/2014/main" id="{1FB32ECB-00B3-F1C0-2BAC-C0839937A043}"/>
              </a:ext>
            </a:extLst>
          </p:cNvPr>
          <p:cNvSpPr/>
          <p:nvPr/>
        </p:nvSpPr>
        <p:spPr bwMode="auto">
          <a:xfrm>
            <a:off x="8953308" y="2740836"/>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140" name="Rectangle 139">
            <a:extLst>
              <a:ext uri="{FF2B5EF4-FFF2-40B4-BE49-F238E27FC236}">
                <a16:creationId xmlns:a16="http://schemas.microsoft.com/office/drawing/2014/main" id="{64D2D1E1-EB66-BB9F-1741-D6CC75374BC9}"/>
              </a:ext>
            </a:extLst>
          </p:cNvPr>
          <p:cNvSpPr/>
          <p:nvPr/>
        </p:nvSpPr>
        <p:spPr>
          <a:xfrm>
            <a:off x="1721653" y="1742432"/>
            <a:ext cx="5169298" cy="992772"/>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45" name="TextBox 144">
            <a:extLst>
              <a:ext uri="{FF2B5EF4-FFF2-40B4-BE49-F238E27FC236}">
                <a16:creationId xmlns:a16="http://schemas.microsoft.com/office/drawing/2014/main" id="{B044E5FB-26A9-B499-DD6F-89BAFA095C4F}"/>
              </a:ext>
            </a:extLst>
          </p:cNvPr>
          <p:cNvSpPr txBox="1"/>
          <p:nvPr/>
        </p:nvSpPr>
        <p:spPr>
          <a:xfrm>
            <a:off x="1949475" y="2640489"/>
            <a:ext cx="743558" cy="92333"/>
          </a:xfrm>
          <a:prstGeom prst="rect">
            <a:avLst/>
          </a:prstGeom>
          <a:noFill/>
          <a:ln w="28575">
            <a:solidFill>
              <a:srgbClr val="FFC000"/>
            </a:solidFill>
          </a:ln>
        </p:spPr>
        <p:txBody>
          <a:bodyPr wrap="square" lIns="0" tIns="0" rIns="0" bIns="0" rtlCol="0">
            <a:spAutoFit/>
          </a:bodyPr>
          <a:lstStyle/>
          <a:p>
            <a:pPr algn="ctr"/>
            <a:r>
              <a:rPr lang="en-US" sz="600" b="1"/>
              <a:t>Critical Activities </a:t>
            </a:r>
          </a:p>
        </p:txBody>
      </p:sp>
      <p:sp>
        <p:nvSpPr>
          <p:cNvPr id="147" name="Rectangle 146">
            <a:extLst>
              <a:ext uri="{FF2B5EF4-FFF2-40B4-BE49-F238E27FC236}">
                <a16:creationId xmlns:a16="http://schemas.microsoft.com/office/drawing/2014/main" id="{C486A95A-7D5C-3946-FED6-5399F4810743}"/>
              </a:ext>
            </a:extLst>
          </p:cNvPr>
          <p:cNvSpPr/>
          <p:nvPr/>
        </p:nvSpPr>
        <p:spPr bwMode="gray">
          <a:xfrm>
            <a:off x="7315200" y="442679"/>
            <a:ext cx="4727635" cy="321550"/>
          </a:xfrm>
          <a:prstGeom prst="rect">
            <a:avLst/>
          </a:prstGeom>
          <a:noFill/>
          <a:ln w="9525" algn="ctr">
            <a:solidFill>
              <a:schemeClr val="accent6">
                <a:lumMod val="1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Arial"/>
              <a:ea typeface="MS Gothic"/>
              <a:cs typeface="+mn-cs"/>
            </a:endParaRPr>
          </a:p>
        </p:txBody>
      </p:sp>
      <p:sp>
        <p:nvSpPr>
          <p:cNvPr id="158" name="Star: 5 Points 157">
            <a:extLst>
              <a:ext uri="{FF2B5EF4-FFF2-40B4-BE49-F238E27FC236}">
                <a16:creationId xmlns:a16="http://schemas.microsoft.com/office/drawing/2014/main" id="{9FD446CC-F80E-4597-EB6C-D25D68A5039F}"/>
              </a:ext>
            </a:extLst>
          </p:cNvPr>
          <p:cNvSpPr/>
          <p:nvPr/>
        </p:nvSpPr>
        <p:spPr>
          <a:xfrm>
            <a:off x="7803598" y="498963"/>
            <a:ext cx="186690" cy="195024"/>
          </a:xfrm>
          <a:prstGeom prst="star5">
            <a:avLst/>
          </a:prstGeom>
          <a:solidFill>
            <a:schemeClr val="tx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159" name="TextBox 158">
            <a:extLst>
              <a:ext uri="{FF2B5EF4-FFF2-40B4-BE49-F238E27FC236}">
                <a16:creationId xmlns:a16="http://schemas.microsoft.com/office/drawing/2014/main" id="{B7D93F8E-CEAF-EE72-B954-53D3B7F1D756}"/>
              </a:ext>
            </a:extLst>
          </p:cNvPr>
          <p:cNvSpPr txBox="1"/>
          <p:nvPr/>
        </p:nvSpPr>
        <p:spPr>
          <a:xfrm>
            <a:off x="7406403" y="533708"/>
            <a:ext cx="406210" cy="107722"/>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700" b="1" i="0" u="none" strike="noStrike" kern="1200" cap="none" spc="0" normalizeH="0" baseline="0" noProof="0">
                <a:ln>
                  <a:noFill/>
                </a:ln>
                <a:solidFill>
                  <a:srgbClr val="000000"/>
                </a:solidFill>
                <a:effectLst/>
                <a:uLnTx/>
                <a:uFillTx/>
                <a:latin typeface="Arial"/>
                <a:ea typeface="MS Gothic"/>
                <a:cs typeface="+mn-cs"/>
              </a:rPr>
              <a:t>Legend:</a:t>
            </a:r>
          </a:p>
        </p:txBody>
      </p:sp>
      <p:sp>
        <p:nvSpPr>
          <p:cNvPr id="160" name="TextBox 159">
            <a:extLst>
              <a:ext uri="{FF2B5EF4-FFF2-40B4-BE49-F238E27FC236}">
                <a16:creationId xmlns:a16="http://schemas.microsoft.com/office/drawing/2014/main" id="{42A5D26E-B3F6-0473-1513-E932F3C6F8AF}"/>
              </a:ext>
            </a:extLst>
          </p:cNvPr>
          <p:cNvSpPr txBox="1"/>
          <p:nvPr/>
        </p:nvSpPr>
        <p:spPr>
          <a:xfrm>
            <a:off x="8002419" y="556055"/>
            <a:ext cx="718385" cy="107722"/>
          </a:xfrm>
          <a:prstGeom prst="rect">
            <a:avLst/>
          </a:prstGeom>
          <a:noFill/>
        </p:spPr>
        <p:txBody>
          <a:bodyPr wrap="square" lIns="0" tIns="0" rIns="0" bIns="0" rtlCol="0" anchor="ctr">
            <a:spAutoFit/>
          </a:bodyPr>
          <a:lstStyle/>
          <a:p>
            <a:pPr algn="l"/>
            <a:r>
              <a:rPr lang="en-US" sz="700">
                <a:solidFill>
                  <a:schemeClr val="accent4"/>
                </a:solidFill>
              </a:rPr>
              <a:t>Critical Milestone</a:t>
            </a:r>
          </a:p>
        </p:txBody>
      </p:sp>
      <p:sp>
        <p:nvSpPr>
          <p:cNvPr id="162" name="TextBox 161">
            <a:extLst>
              <a:ext uri="{FF2B5EF4-FFF2-40B4-BE49-F238E27FC236}">
                <a16:creationId xmlns:a16="http://schemas.microsoft.com/office/drawing/2014/main" id="{CCC3FFD4-110B-7834-28CE-CA56D5C36D93}"/>
              </a:ext>
            </a:extLst>
          </p:cNvPr>
          <p:cNvSpPr txBox="1"/>
          <p:nvPr/>
        </p:nvSpPr>
        <p:spPr>
          <a:xfrm>
            <a:off x="8966522" y="549230"/>
            <a:ext cx="718385" cy="107722"/>
          </a:xfrm>
          <a:prstGeom prst="rect">
            <a:avLst/>
          </a:prstGeom>
          <a:noFill/>
        </p:spPr>
        <p:txBody>
          <a:bodyPr wrap="square" lIns="0" tIns="0" rIns="0" bIns="0" rtlCol="0" anchor="ctr">
            <a:spAutoFit/>
          </a:bodyPr>
          <a:lstStyle/>
          <a:p>
            <a:pPr algn="l"/>
            <a:r>
              <a:rPr lang="en-US" sz="700">
                <a:solidFill>
                  <a:schemeClr val="accent4"/>
                </a:solidFill>
              </a:rPr>
              <a:t>Client Milestone</a:t>
            </a:r>
          </a:p>
        </p:txBody>
      </p:sp>
      <p:sp>
        <p:nvSpPr>
          <p:cNvPr id="12" name="Star: 5 Points 11">
            <a:extLst>
              <a:ext uri="{FF2B5EF4-FFF2-40B4-BE49-F238E27FC236}">
                <a16:creationId xmlns:a16="http://schemas.microsoft.com/office/drawing/2014/main" id="{C2E3EBD9-331A-C438-0410-0A47C48B7D7A}"/>
              </a:ext>
            </a:extLst>
          </p:cNvPr>
          <p:cNvSpPr/>
          <p:nvPr/>
        </p:nvSpPr>
        <p:spPr>
          <a:xfrm>
            <a:off x="3713947" y="1775050"/>
            <a:ext cx="164592" cy="164592"/>
          </a:xfrm>
          <a:prstGeom prst="star5">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15" name="Isosceles Triangle 14">
            <a:extLst>
              <a:ext uri="{FF2B5EF4-FFF2-40B4-BE49-F238E27FC236}">
                <a16:creationId xmlns:a16="http://schemas.microsoft.com/office/drawing/2014/main" id="{77847212-BC3F-A6D4-AA53-70D07832E429}"/>
              </a:ext>
            </a:extLst>
          </p:cNvPr>
          <p:cNvSpPr/>
          <p:nvPr/>
        </p:nvSpPr>
        <p:spPr>
          <a:xfrm>
            <a:off x="2923069" y="2443594"/>
            <a:ext cx="137160" cy="137160"/>
          </a:xfrm>
          <a:prstGeom prst="triangle">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24" name="Isosceles Triangle 23">
            <a:extLst>
              <a:ext uri="{FF2B5EF4-FFF2-40B4-BE49-F238E27FC236}">
                <a16:creationId xmlns:a16="http://schemas.microsoft.com/office/drawing/2014/main" id="{4855C06D-4678-D757-D3B0-9E5BBB7B08B9}"/>
              </a:ext>
            </a:extLst>
          </p:cNvPr>
          <p:cNvSpPr/>
          <p:nvPr/>
        </p:nvSpPr>
        <p:spPr>
          <a:xfrm>
            <a:off x="8777111" y="508806"/>
            <a:ext cx="172902" cy="149053"/>
          </a:xfrm>
          <a:prstGeom prst="triangle">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33" name="TextBox 32">
            <a:extLst>
              <a:ext uri="{FF2B5EF4-FFF2-40B4-BE49-F238E27FC236}">
                <a16:creationId xmlns:a16="http://schemas.microsoft.com/office/drawing/2014/main" id="{98FED506-6474-2AD6-6E39-4BB5F0C1B1DF}"/>
              </a:ext>
            </a:extLst>
          </p:cNvPr>
          <p:cNvSpPr txBox="1"/>
          <p:nvPr/>
        </p:nvSpPr>
        <p:spPr>
          <a:xfrm>
            <a:off x="9673310" y="2442280"/>
            <a:ext cx="743558" cy="276999"/>
          </a:xfrm>
          <a:prstGeom prst="rect">
            <a:avLst/>
          </a:prstGeom>
          <a:noFill/>
        </p:spPr>
        <p:txBody>
          <a:bodyPr wrap="square" lIns="0" tIns="0" rIns="0" bIns="0" rtlCol="0">
            <a:spAutoFit/>
          </a:bodyPr>
          <a:lstStyle/>
          <a:p>
            <a:r>
              <a:rPr lang="en-US" sz="600" b="1">
                <a:solidFill>
                  <a:schemeClr val="accent4"/>
                </a:solidFill>
              </a:rPr>
              <a:t>Client Eligibility Layout Decision Due</a:t>
            </a:r>
          </a:p>
        </p:txBody>
      </p:sp>
      <p:sp>
        <p:nvSpPr>
          <p:cNvPr id="34" name="Star: 5 Points 33">
            <a:extLst>
              <a:ext uri="{FF2B5EF4-FFF2-40B4-BE49-F238E27FC236}">
                <a16:creationId xmlns:a16="http://schemas.microsoft.com/office/drawing/2014/main" id="{2081C47C-0FF1-CF2C-2CA7-2BC94A7542A4}"/>
              </a:ext>
            </a:extLst>
          </p:cNvPr>
          <p:cNvSpPr/>
          <p:nvPr/>
        </p:nvSpPr>
        <p:spPr>
          <a:xfrm>
            <a:off x="9910248" y="2286256"/>
            <a:ext cx="164592" cy="164592"/>
          </a:xfrm>
          <a:prstGeom prst="star5">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54" name="TextBox 53">
            <a:extLst>
              <a:ext uri="{FF2B5EF4-FFF2-40B4-BE49-F238E27FC236}">
                <a16:creationId xmlns:a16="http://schemas.microsoft.com/office/drawing/2014/main" id="{7884EA09-F6B4-2ED9-E3C0-3619779D7F49}"/>
              </a:ext>
            </a:extLst>
          </p:cNvPr>
          <p:cNvSpPr txBox="1"/>
          <p:nvPr/>
        </p:nvSpPr>
        <p:spPr>
          <a:xfrm>
            <a:off x="4535708" y="2472490"/>
            <a:ext cx="1425578" cy="184666"/>
          </a:xfrm>
          <a:prstGeom prst="rect">
            <a:avLst/>
          </a:prstGeom>
          <a:noFill/>
        </p:spPr>
        <p:txBody>
          <a:bodyPr wrap="square" lIns="0" tIns="0" rIns="0" bIns="0" rtlCol="0">
            <a:spAutoFit/>
          </a:bodyPr>
          <a:lstStyle/>
          <a:p>
            <a:r>
              <a:rPr lang="en-US" sz="600" b="1" i="1">
                <a:solidFill>
                  <a:schemeClr val="accent4"/>
                </a:solidFill>
              </a:rPr>
              <a:t>* Eligibility Testing occurs on a rolling basis as Client Decisions are received</a:t>
            </a:r>
          </a:p>
        </p:txBody>
      </p:sp>
      <p:sp>
        <p:nvSpPr>
          <p:cNvPr id="55" name="Star: 5 Points 54">
            <a:extLst>
              <a:ext uri="{FF2B5EF4-FFF2-40B4-BE49-F238E27FC236}">
                <a16:creationId xmlns:a16="http://schemas.microsoft.com/office/drawing/2014/main" id="{AE87A96F-E485-A8F9-13ED-B192A5931EEC}"/>
              </a:ext>
            </a:extLst>
          </p:cNvPr>
          <p:cNvSpPr/>
          <p:nvPr/>
        </p:nvSpPr>
        <p:spPr>
          <a:xfrm>
            <a:off x="4600488" y="4162795"/>
            <a:ext cx="164592" cy="164592"/>
          </a:xfrm>
          <a:prstGeom prst="star5">
            <a:avLst/>
          </a:prstGeom>
          <a:solidFill>
            <a:schemeClr val="accent1"/>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err="1">
              <a:solidFill>
                <a:srgbClr val="000000"/>
              </a:solidFill>
              <a:latin typeface="Arial"/>
              <a:ea typeface="MS Gothic"/>
            </a:endParaRPr>
          </a:p>
        </p:txBody>
      </p:sp>
      <p:sp>
        <p:nvSpPr>
          <p:cNvPr id="76" name="Flowchart: Decision 75">
            <a:extLst>
              <a:ext uri="{FF2B5EF4-FFF2-40B4-BE49-F238E27FC236}">
                <a16:creationId xmlns:a16="http://schemas.microsoft.com/office/drawing/2014/main" id="{6DD20F7D-CD20-72D3-AB5C-7CDE1DD84BDD}"/>
              </a:ext>
            </a:extLst>
          </p:cNvPr>
          <p:cNvSpPr/>
          <p:nvPr/>
        </p:nvSpPr>
        <p:spPr bwMode="auto">
          <a:xfrm>
            <a:off x="3613245" y="4161843"/>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81" name="Flowchart: Decision 80">
            <a:extLst>
              <a:ext uri="{FF2B5EF4-FFF2-40B4-BE49-F238E27FC236}">
                <a16:creationId xmlns:a16="http://schemas.microsoft.com/office/drawing/2014/main" id="{B5658BD5-5522-AB42-3230-84D2867B3256}"/>
              </a:ext>
            </a:extLst>
          </p:cNvPr>
          <p:cNvSpPr/>
          <p:nvPr/>
        </p:nvSpPr>
        <p:spPr bwMode="auto">
          <a:xfrm>
            <a:off x="9769087" y="520784"/>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82" name="TextBox 81">
            <a:extLst>
              <a:ext uri="{FF2B5EF4-FFF2-40B4-BE49-F238E27FC236}">
                <a16:creationId xmlns:a16="http://schemas.microsoft.com/office/drawing/2014/main" id="{49E5040D-00FA-EEE6-CBFF-E4D8472D9788}"/>
              </a:ext>
            </a:extLst>
          </p:cNvPr>
          <p:cNvSpPr txBox="1"/>
          <p:nvPr/>
        </p:nvSpPr>
        <p:spPr>
          <a:xfrm>
            <a:off x="9975417" y="542104"/>
            <a:ext cx="718385" cy="107722"/>
          </a:xfrm>
          <a:prstGeom prst="rect">
            <a:avLst/>
          </a:prstGeom>
          <a:noFill/>
        </p:spPr>
        <p:txBody>
          <a:bodyPr wrap="square" lIns="0" tIns="0" rIns="0" bIns="0" rtlCol="0" anchor="ctr">
            <a:spAutoFit/>
          </a:bodyPr>
          <a:lstStyle/>
          <a:p>
            <a:pPr algn="l"/>
            <a:r>
              <a:rPr lang="en-US" sz="700">
                <a:solidFill>
                  <a:schemeClr val="accent4"/>
                </a:solidFill>
              </a:rPr>
              <a:t>PBM Milestone</a:t>
            </a:r>
          </a:p>
        </p:txBody>
      </p:sp>
      <p:sp>
        <p:nvSpPr>
          <p:cNvPr id="85" name="Oval 84">
            <a:extLst>
              <a:ext uri="{FF2B5EF4-FFF2-40B4-BE49-F238E27FC236}">
                <a16:creationId xmlns:a16="http://schemas.microsoft.com/office/drawing/2014/main" id="{9C4DAA34-D041-7023-E708-9DA37F5ABA85}"/>
              </a:ext>
            </a:extLst>
          </p:cNvPr>
          <p:cNvSpPr/>
          <p:nvPr/>
        </p:nvSpPr>
        <p:spPr bwMode="auto">
          <a:xfrm>
            <a:off x="10679461" y="521112"/>
            <a:ext cx="155146" cy="160318"/>
          </a:xfrm>
          <a:prstGeom prst="ellipse">
            <a:avLst/>
          </a:prstGeom>
          <a:solidFill>
            <a:schemeClr val="accent3"/>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87" name="TextBox 86">
            <a:extLst>
              <a:ext uri="{FF2B5EF4-FFF2-40B4-BE49-F238E27FC236}">
                <a16:creationId xmlns:a16="http://schemas.microsoft.com/office/drawing/2014/main" id="{31C485A4-C967-0800-BDF8-E11ED71EC717}"/>
              </a:ext>
            </a:extLst>
          </p:cNvPr>
          <p:cNvSpPr txBox="1"/>
          <p:nvPr/>
        </p:nvSpPr>
        <p:spPr>
          <a:xfrm>
            <a:off x="10900703" y="531634"/>
            <a:ext cx="718385" cy="107722"/>
          </a:xfrm>
          <a:prstGeom prst="rect">
            <a:avLst/>
          </a:prstGeom>
          <a:noFill/>
        </p:spPr>
        <p:txBody>
          <a:bodyPr wrap="square" lIns="0" tIns="0" rIns="0" bIns="0" rtlCol="0" anchor="ctr">
            <a:spAutoFit/>
          </a:bodyPr>
          <a:lstStyle/>
          <a:p>
            <a:pPr algn="l"/>
            <a:r>
              <a:rPr lang="en-US" sz="700">
                <a:solidFill>
                  <a:schemeClr val="accent4"/>
                </a:solidFill>
              </a:rPr>
              <a:t>Shared Milestone</a:t>
            </a:r>
          </a:p>
        </p:txBody>
      </p:sp>
      <p:sp>
        <p:nvSpPr>
          <p:cNvPr id="3" name="TextBox 2">
            <a:extLst>
              <a:ext uri="{FF2B5EF4-FFF2-40B4-BE49-F238E27FC236}">
                <a16:creationId xmlns:a16="http://schemas.microsoft.com/office/drawing/2014/main" id="{D55FF0AA-9D4A-1911-A28A-ED43D48B242E}"/>
              </a:ext>
            </a:extLst>
          </p:cNvPr>
          <p:cNvSpPr txBox="1"/>
          <p:nvPr/>
        </p:nvSpPr>
        <p:spPr>
          <a:xfrm>
            <a:off x="5377136" y="2018928"/>
            <a:ext cx="1425578" cy="184666"/>
          </a:xfrm>
          <a:prstGeom prst="rect">
            <a:avLst/>
          </a:prstGeom>
          <a:noFill/>
        </p:spPr>
        <p:txBody>
          <a:bodyPr wrap="square" lIns="0" tIns="0" rIns="0" bIns="0" rtlCol="0">
            <a:spAutoFit/>
          </a:bodyPr>
          <a:lstStyle/>
          <a:p>
            <a:r>
              <a:rPr lang="en-US" sz="600" b="1" i="1">
                <a:solidFill>
                  <a:schemeClr val="accent4"/>
                </a:solidFill>
              </a:rPr>
              <a:t>* Billing File Testing occurs on a rolling basis as Client Decisions are received</a:t>
            </a:r>
          </a:p>
        </p:txBody>
      </p:sp>
      <p:sp>
        <p:nvSpPr>
          <p:cNvPr id="25" name="TextBox 24">
            <a:extLst>
              <a:ext uri="{FF2B5EF4-FFF2-40B4-BE49-F238E27FC236}">
                <a16:creationId xmlns:a16="http://schemas.microsoft.com/office/drawing/2014/main" id="{890F128B-5B4A-9816-696F-910A666B8A50}"/>
              </a:ext>
            </a:extLst>
          </p:cNvPr>
          <p:cNvSpPr txBox="1"/>
          <p:nvPr/>
        </p:nvSpPr>
        <p:spPr>
          <a:xfrm>
            <a:off x="4594460" y="2248756"/>
            <a:ext cx="750853" cy="184666"/>
          </a:xfrm>
          <a:prstGeom prst="rect">
            <a:avLst/>
          </a:prstGeom>
          <a:noFill/>
        </p:spPr>
        <p:txBody>
          <a:bodyPr wrap="square" lIns="0" tIns="0" rIns="0" bIns="0" rtlCol="0">
            <a:spAutoFit/>
          </a:bodyPr>
          <a:lstStyle/>
          <a:p>
            <a:pPr algn="ctr"/>
            <a:r>
              <a:rPr lang="en-US" sz="600" b="1">
                <a:solidFill>
                  <a:schemeClr val="accent4"/>
                </a:solidFill>
              </a:rPr>
              <a:t>Eligibility file test window open</a:t>
            </a:r>
          </a:p>
        </p:txBody>
      </p:sp>
      <p:sp>
        <p:nvSpPr>
          <p:cNvPr id="30" name="Oval 29">
            <a:extLst>
              <a:ext uri="{FF2B5EF4-FFF2-40B4-BE49-F238E27FC236}">
                <a16:creationId xmlns:a16="http://schemas.microsoft.com/office/drawing/2014/main" id="{7D6F5921-1309-7F0D-41D8-DDCEB9DFDF15}"/>
              </a:ext>
            </a:extLst>
          </p:cNvPr>
          <p:cNvSpPr/>
          <p:nvPr/>
        </p:nvSpPr>
        <p:spPr>
          <a:xfrm>
            <a:off x="4422862" y="2249792"/>
            <a:ext cx="155448" cy="15544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32" name="TextBox 31">
            <a:extLst>
              <a:ext uri="{FF2B5EF4-FFF2-40B4-BE49-F238E27FC236}">
                <a16:creationId xmlns:a16="http://schemas.microsoft.com/office/drawing/2014/main" id="{03D249DD-4551-2C64-D191-D02B29032643}"/>
              </a:ext>
            </a:extLst>
          </p:cNvPr>
          <p:cNvSpPr txBox="1"/>
          <p:nvPr/>
        </p:nvSpPr>
        <p:spPr>
          <a:xfrm>
            <a:off x="10353917" y="2456339"/>
            <a:ext cx="959371" cy="184666"/>
          </a:xfrm>
          <a:prstGeom prst="rect">
            <a:avLst/>
          </a:prstGeom>
          <a:noFill/>
        </p:spPr>
        <p:txBody>
          <a:bodyPr wrap="square" lIns="0" tIns="0" rIns="0" bIns="0" rtlCol="0">
            <a:spAutoFit/>
          </a:bodyPr>
          <a:lstStyle/>
          <a:p>
            <a:r>
              <a:rPr lang="en-US" sz="600">
                <a:solidFill>
                  <a:schemeClr val="accent4"/>
                </a:solidFill>
              </a:rPr>
              <a:t>Validation Sign‑Off / Risk Acceptance</a:t>
            </a:r>
          </a:p>
        </p:txBody>
      </p:sp>
      <p:sp>
        <p:nvSpPr>
          <p:cNvPr id="35" name="Oval 34">
            <a:extLst>
              <a:ext uri="{FF2B5EF4-FFF2-40B4-BE49-F238E27FC236}">
                <a16:creationId xmlns:a16="http://schemas.microsoft.com/office/drawing/2014/main" id="{374AC704-1E44-8E86-36F2-DA678CF198B7}"/>
              </a:ext>
            </a:extLst>
          </p:cNvPr>
          <p:cNvSpPr/>
          <p:nvPr/>
        </p:nvSpPr>
        <p:spPr bwMode="auto">
          <a:xfrm>
            <a:off x="10987356" y="2266332"/>
            <a:ext cx="155146" cy="160318"/>
          </a:xfrm>
          <a:prstGeom prst="ellipse">
            <a:avLst/>
          </a:prstGeom>
          <a:solidFill>
            <a:schemeClr val="accent2"/>
          </a:solidFill>
          <a:ln w="6350" cap="flat" cmpd="sng" algn="ctr">
            <a:solidFill>
              <a:schemeClr val="accent2">
                <a:lumMod val="50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36" name="TextBox 35">
            <a:extLst>
              <a:ext uri="{FF2B5EF4-FFF2-40B4-BE49-F238E27FC236}">
                <a16:creationId xmlns:a16="http://schemas.microsoft.com/office/drawing/2014/main" id="{622D90F0-8B0D-8AAE-AD8B-FD11BA1F473F}"/>
              </a:ext>
            </a:extLst>
          </p:cNvPr>
          <p:cNvSpPr txBox="1"/>
          <p:nvPr/>
        </p:nvSpPr>
        <p:spPr>
          <a:xfrm>
            <a:off x="11140578" y="2464437"/>
            <a:ext cx="1035591" cy="184666"/>
          </a:xfrm>
          <a:prstGeom prst="rect">
            <a:avLst/>
          </a:prstGeom>
          <a:noFill/>
        </p:spPr>
        <p:txBody>
          <a:bodyPr wrap="square" lIns="0" tIns="0" rIns="0" bIns="0" rtlCol="0">
            <a:spAutoFit/>
          </a:bodyPr>
          <a:lstStyle/>
          <a:p>
            <a:pPr algn="r"/>
            <a:r>
              <a:rPr lang="en-US" sz="600">
                <a:solidFill>
                  <a:schemeClr val="accent4"/>
                </a:solidFill>
              </a:rPr>
              <a:t>Post‑Transition Monitoring Begins</a:t>
            </a:r>
          </a:p>
        </p:txBody>
      </p:sp>
      <p:sp>
        <p:nvSpPr>
          <p:cNvPr id="37" name="Flowchart: Decision 36">
            <a:extLst>
              <a:ext uri="{FF2B5EF4-FFF2-40B4-BE49-F238E27FC236}">
                <a16:creationId xmlns:a16="http://schemas.microsoft.com/office/drawing/2014/main" id="{20D491DD-7927-E221-25C5-F257B34CC374}"/>
              </a:ext>
            </a:extLst>
          </p:cNvPr>
          <p:cNvSpPr/>
          <p:nvPr/>
        </p:nvSpPr>
        <p:spPr bwMode="auto">
          <a:xfrm>
            <a:off x="11231500" y="2270106"/>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38" name="Flowchart: Decision 37">
            <a:extLst>
              <a:ext uri="{FF2B5EF4-FFF2-40B4-BE49-F238E27FC236}">
                <a16:creationId xmlns:a16="http://schemas.microsoft.com/office/drawing/2014/main" id="{4AC47B8A-E19F-63DC-85E5-EFF226E463C5}"/>
              </a:ext>
            </a:extLst>
          </p:cNvPr>
          <p:cNvSpPr/>
          <p:nvPr/>
        </p:nvSpPr>
        <p:spPr bwMode="auto">
          <a:xfrm>
            <a:off x="10988621" y="3226802"/>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63" name="TextBox 62">
            <a:extLst>
              <a:ext uri="{FF2B5EF4-FFF2-40B4-BE49-F238E27FC236}">
                <a16:creationId xmlns:a16="http://schemas.microsoft.com/office/drawing/2014/main" id="{E3832E43-DD7C-242B-DD9C-D48472479097}"/>
              </a:ext>
            </a:extLst>
          </p:cNvPr>
          <p:cNvSpPr txBox="1"/>
          <p:nvPr/>
        </p:nvSpPr>
        <p:spPr>
          <a:xfrm>
            <a:off x="11020402" y="3392777"/>
            <a:ext cx="757192" cy="92333"/>
          </a:xfrm>
          <a:prstGeom prst="rect">
            <a:avLst/>
          </a:prstGeom>
          <a:noFill/>
        </p:spPr>
        <p:txBody>
          <a:bodyPr wrap="square" lIns="0" tIns="0" rIns="0" bIns="0" rtlCol="0">
            <a:spAutoFit/>
          </a:bodyPr>
          <a:lstStyle/>
          <a:p>
            <a:r>
              <a:rPr lang="en-US" sz="600">
                <a:solidFill>
                  <a:schemeClr val="accent4"/>
                </a:solidFill>
              </a:rPr>
              <a:t>Go-live support</a:t>
            </a:r>
          </a:p>
        </p:txBody>
      </p:sp>
      <p:sp>
        <p:nvSpPr>
          <p:cNvPr id="62" name="Flowchart: Decision 61">
            <a:extLst>
              <a:ext uri="{FF2B5EF4-FFF2-40B4-BE49-F238E27FC236}">
                <a16:creationId xmlns:a16="http://schemas.microsoft.com/office/drawing/2014/main" id="{A3DA0E9A-FB5A-3496-2F6A-796BB32C4FA2}"/>
              </a:ext>
            </a:extLst>
          </p:cNvPr>
          <p:cNvSpPr/>
          <p:nvPr/>
        </p:nvSpPr>
        <p:spPr bwMode="auto">
          <a:xfrm>
            <a:off x="5091254" y="4619266"/>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67" name="TextBox 66">
            <a:extLst>
              <a:ext uri="{FF2B5EF4-FFF2-40B4-BE49-F238E27FC236}">
                <a16:creationId xmlns:a16="http://schemas.microsoft.com/office/drawing/2014/main" id="{E73CAAA1-333C-5052-B3E9-B66C742F1F48}"/>
              </a:ext>
            </a:extLst>
          </p:cNvPr>
          <p:cNvSpPr txBox="1"/>
          <p:nvPr/>
        </p:nvSpPr>
        <p:spPr>
          <a:xfrm>
            <a:off x="4816927" y="4787649"/>
            <a:ext cx="429531" cy="461665"/>
          </a:xfrm>
          <a:prstGeom prst="rect">
            <a:avLst/>
          </a:prstGeom>
          <a:noFill/>
        </p:spPr>
        <p:txBody>
          <a:bodyPr wrap="square" lIns="0" tIns="0" rIns="0" bIns="0" rtlCol="0" anchor="t">
            <a:spAutoFit/>
          </a:bodyPr>
          <a:lstStyle/>
          <a:p>
            <a:pPr algn="ctr"/>
            <a:r>
              <a:rPr lang="en-US" sz="600" dirty="0">
                <a:solidFill>
                  <a:schemeClr val="accent4"/>
                </a:solidFill>
              </a:rPr>
              <a:t>Client notification of upcoming pharmacy comm</a:t>
            </a:r>
            <a:endParaRPr lang="en-US" dirty="0">
              <a:solidFill>
                <a:schemeClr val="accent4"/>
              </a:solidFill>
            </a:endParaRPr>
          </a:p>
        </p:txBody>
      </p:sp>
      <p:sp>
        <p:nvSpPr>
          <p:cNvPr id="79" name="Flowchart: Decision 78">
            <a:extLst>
              <a:ext uri="{FF2B5EF4-FFF2-40B4-BE49-F238E27FC236}">
                <a16:creationId xmlns:a16="http://schemas.microsoft.com/office/drawing/2014/main" id="{E568B237-6778-678E-93B8-B053B26A1DD2}"/>
              </a:ext>
            </a:extLst>
          </p:cNvPr>
          <p:cNvSpPr/>
          <p:nvPr/>
        </p:nvSpPr>
        <p:spPr bwMode="auto">
          <a:xfrm>
            <a:off x="4647973" y="4616311"/>
            <a:ext cx="155146" cy="160318"/>
          </a:xfrm>
          <a:prstGeom prst="flowChartDecision">
            <a:avLst/>
          </a:prstGeom>
          <a:solidFill>
            <a:srgbClr val="00B0F0"/>
          </a:solidFill>
          <a:ln w="635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700">
              <a:solidFill>
                <a:srgbClr val="000000"/>
              </a:solidFill>
              <a:latin typeface="Arial"/>
              <a:ea typeface="MS Gothic"/>
            </a:endParaRPr>
          </a:p>
        </p:txBody>
      </p:sp>
      <p:sp>
        <p:nvSpPr>
          <p:cNvPr id="83" name="TextBox 82">
            <a:extLst>
              <a:ext uri="{FF2B5EF4-FFF2-40B4-BE49-F238E27FC236}">
                <a16:creationId xmlns:a16="http://schemas.microsoft.com/office/drawing/2014/main" id="{B890D07A-D852-55B5-8864-E4BD6A2180DE}"/>
              </a:ext>
            </a:extLst>
          </p:cNvPr>
          <p:cNvSpPr txBox="1"/>
          <p:nvPr/>
        </p:nvSpPr>
        <p:spPr>
          <a:xfrm>
            <a:off x="3936656" y="4743874"/>
            <a:ext cx="777437" cy="184666"/>
          </a:xfrm>
          <a:prstGeom prst="rect">
            <a:avLst/>
          </a:prstGeom>
          <a:noFill/>
        </p:spPr>
        <p:txBody>
          <a:bodyPr wrap="square" lIns="0" tIns="0" rIns="0" bIns="0" rtlCol="0" anchor="t">
            <a:spAutoFit/>
          </a:bodyPr>
          <a:lstStyle/>
          <a:p>
            <a:pPr algn="ctr"/>
            <a:r>
              <a:rPr lang="en-US" sz="600" dirty="0"/>
              <a:t>provide IIN values for Carriers/Contracts </a:t>
            </a:r>
            <a:endParaRPr lang="en-US" sz="600" dirty="0">
              <a:solidFill>
                <a:schemeClr val="accent4"/>
              </a:solidFill>
            </a:endParaRPr>
          </a:p>
        </p:txBody>
      </p:sp>
    </p:spTree>
    <p:extLst>
      <p:ext uri="{BB962C8B-B14F-4D97-AF65-F5344CB8AC3E}">
        <p14:creationId xmlns:p14="http://schemas.microsoft.com/office/powerpoint/2010/main" val="2939834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370F0-0BA0-869A-9DB4-C704EEE79B94}"/>
              </a:ext>
            </a:extLst>
          </p:cNvPr>
          <p:cNvSpPr>
            <a:spLocks noGrp="1"/>
          </p:cNvSpPr>
          <p:nvPr>
            <p:ph type="title"/>
          </p:nvPr>
        </p:nvSpPr>
        <p:spPr/>
        <p:txBody>
          <a:bodyPr/>
          <a:lstStyle/>
          <a:p>
            <a:r>
              <a:rPr lang="en-US">
                <a:cs typeface="Arial"/>
              </a:rPr>
              <a:t>Appendix</a:t>
            </a:r>
            <a:endParaRPr lang="en-US"/>
          </a:p>
        </p:txBody>
      </p:sp>
      <p:sp>
        <p:nvSpPr>
          <p:cNvPr id="3" name="Text Placeholder 2">
            <a:extLst>
              <a:ext uri="{FF2B5EF4-FFF2-40B4-BE49-F238E27FC236}">
                <a16:creationId xmlns:a16="http://schemas.microsoft.com/office/drawing/2014/main" id="{9491EC73-D854-4B61-1A9B-8E66178DF5DC}"/>
              </a:ext>
            </a:extLst>
          </p:cNvPr>
          <p:cNvSpPr>
            <a:spLocks noGrp="1"/>
          </p:cNvSpPr>
          <p:nvPr>
            <p:ph type="body" sz="quarter" idx="19"/>
          </p:nvPr>
        </p:nvSpPr>
        <p:spPr>
          <a:xfrm>
            <a:off x="360000" y="769232"/>
            <a:ext cx="9419794" cy="935743"/>
          </a:xfrm>
        </p:spPr>
        <p:txBody>
          <a:bodyPr/>
          <a:lstStyle/>
          <a:p>
            <a:r>
              <a:rPr lang="en-US">
                <a:cs typeface="Arial"/>
              </a:rPr>
              <a:t>Below is a table describing the various swim lanes outlined in the roadmap slide</a:t>
            </a:r>
            <a:endParaRPr lang="en-US"/>
          </a:p>
        </p:txBody>
      </p:sp>
      <p:graphicFrame>
        <p:nvGraphicFramePr>
          <p:cNvPr id="8" name="Content Placeholder 7">
            <a:extLst>
              <a:ext uri="{FF2B5EF4-FFF2-40B4-BE49-F238E27FC236}">
                <a16:creationId xmlns:a16="http://schemas.microsoft.com/office/drawing/2014/main" id="{B5A8ABF7-81D2-F228-37D2-D0AD8E5613F3}"/>
              </a:ext>
            </a:extLst>
          </p:cNvPr>
          <p:cNvGraphicFramePr>
            <a:graphicFrameLocks noGrp="1"/>
          </p:cNvGraphicFramePr>
          <p:nvPr>
            <p:ph idx="1"/>
            <p:extLst>
              <p:ext uri="{D42A27DB-BD31-4B8C-83A1-F6EECF244321}">
                <p14:modId xmlns:p14="http://schemas.microsoft.com/office/powerpoint/2010/main" val="2556838468"/>
              </p:ext>
            </p:extLst>
          </p:nvPr>
        </p:nvGraphicFramePr>
        <p:xfrm>
          <a:off x="360363" y="1570832"/>
          <a:ext cx="11467411" cy="4434840"/>
        </p:xfrm>
        <a:graphic>
          <a:graphicData uri="http://schemas.openxmlformats.org/drawingml/2006/table">
            <a:tbl>
              <a:tblPr firstRow="1" bandRow="1">
                <a:tableStyleId>{21E4AEA4-8DFA-4A89-87EB-49C32662AFE0}</a:tableStyleId>
              </a:tblPr>
              <a:tblGrid>
                <a:gridCol w="4564013">
                  <a:extLst>
                    <a:ext uri="{9D8B030D-6E8A-4147-A177-3AD203B41FA5}">
                      <a16:colId xmlns:a16="http://schemas.microsoft.com/office/drawing/2014/main" val="699250452"/>
                    </a:ext>
                  </a:extLst>
                </a:gridCol>
                <a:gridCol w="6903398">
                  <a:extLst>
                    <a:ext uri="{9D8B030D-6E8A-4147-A177-3AD203B41FA5}">
                      <a16:colId xmlns:a16="http://schemas.microsoft.com/office/drawing/2014/main" val="3035794691"/>
                    </a:ext>
                  </a:extLst>
                </a:gridCol>
              </a:tblGrid>
              <a:tr h="370840">
                <a:tc>
                  <a:txBody>
                    <a:bodyPr/>
                    <a:lstStyle/>
                    <a:p>
                      <a:r>
                        <a:rPr lang="en-US"/>
                        <a:t>Impact Category</a:t>
                      </a:r>
                    </a:p>
                  </a:txBody>
                  <a:tcPr/>
                </a:tc>
                <a:tc>
                  <a:txBody>
                    <a:bodyPr/>
                    <a:lstStyle/>
                    <a:p>
                      <a:r>
                        <a:rPr lang="en-US"/>
                        <a:t>Description</a:t>
                      </a:r>
                    </a:p>
                  </a:txBody>
                  <a:tcPr/>
                </a:tc>
                <a:extLst>
                  <a:ext uri="{0D108BD9-81ED-4DB2-BD59-A6C34878D82A}">
                    <a16:rowId xmlns:a16="http://schemas.microsoft.com/office/drawing/2014/main" val="2483460689"/>
                  </a:ext>
                </a:extLst>
              </a:tr>
              <a:tr h="370840">
                <a:tc>
                  <a:txBody>
                    <a:bodyPr/>
                    <a:lstStyle/>
                    <a:p>
                      <a:pPr lvl="0" algn="l">
                        <a:lnSpc>
                          <a:spcPct val="100000"/>
                        </a:lnSpc>
                        <a:spcBef>
                          <a:spcPts val="0"/>
                        </a:spcBef>
                        <a:spcAft>
                          <a:spcPts val="0"/>
                        </a:spcAft>
                        <a:buNone/>
                      </a:pPr>
                      <a:r>
                        <a:rPr lang="en-US" sz="1400"/>
                        <a:t>Benefits</a:t>
                      </a:r>
                    </a:p>
                  </a:txBody>
                  <a:tcPr anchor="ctr"/>
                </a:tc>
                <a:tc>
                  <a:txBody>
                    <a:bodyPr/>
                    <a:lstStyle/>
                    <a:p>
                      <a:pPr lvl="0">
                        <a:buNone/>
                      </a:pPr>
                      <a:r>
                        <a:rPr lang="en-US" sz="1400"/>
                        <a:t>Milestones that impact b</a:t>
                      </a:r>
                      <a:r>
                        <a:rPr lang="en-US" sz="1400" u="none" strike="noStrike" noProof="0" err="1">
                          <a:solidFill>
                            <a:srgbClr val="000000"/>
                          </a:solidFill>
                        </a:rPr>
                        <a:t>enefit</a:t>
                      </a:r>
                      <a:r>
                        <a:rPr lang="en-US" sz="1400" u="none" strike="noStrike" noProof="0">
                          <a:solidFill>
                            <a:srgbClr val="000000"/>
                          </a:solidFill>
                        </a:rPr>
                        <a:t> configuration inputs (e.g., prior authorization, accumulator data), automation feeds, and intent templates that impact adjudication</a:t>
                      </a:r>
                      <a:endParaRPr lang="en-US" sz="1400"/>
                    </a:p>
                  </a:txBody>
                  <a:tcPr/>
                </a:tc>
                <a:extLst>
                  <a:ext uri="{0D108BD9-81ED-4DB2-BD59-A6C34878D82A}">
                    <a16:rowId xmlns:a16="http://schemas.microsoft.com/office/drawing/2014/main" val="1785178103"/>
                  </a:ext>
                </a:extLst>
              </a:tr>
              <a:tr h="370840">
                <a:tc>
                  <a:txBody>
                    <a:bodyPr/>
                    <a:lstStyle/>
                    <a:p>
                      <a:pPr lvl="0" algn="l">
                        <a:lnSpc>
                          <a:spcPct val="100000"/>
                        </a:lnSpc>
                        <a:spcBef>
                          <a:spcPts val="0"/>
                        </a:spcBef>
                        <a:spcAft>
                          <a:spcPts val="0"/>
                        </a:spcAft>
                        <a:buNone/>
                      </a:pPr>
                      <a:r>
                        <a:rPr lang="en-US" sz="1400" u="none" strike="noStrike" noProof="0">
                          <a:solidFill>
                            <a:schemeClr val="tx1"/>
                          </a:solidFill>
                        </a:rPr>
                        <a:t>Billing Files</a:t>
                      </a:r>
                      <a:endParaRPr lang="en-US" sz="1400">
                        <a:solidFill>
                          <a:schemeClr val="tx1"/>
                        </a:solidFill>
                      </a:endParaRPr>
                    </a:p>
                  </a:txBody>
                  <a:tcPr anchor="ctr"/>
                </a:tc>
                <a:tc>
                  <a:txBody>
                    <a:bodyPr/>
                    <a:lstStyle/>
                    <a:p>
                      <a:r>
                        <a:rPr lang="en-US" sz="1400"/>
                        <a:t>File layouts where clients/vendors receive claim/billing data (e.g., CDL, PAL) from ESI</a:t>
                      </a:r>
                    </a:p>
                  </a:txBody>
                  <a:tcPr/>
                </a:tc>
                <a:extLst>
                  <a:ext uri="{0D108BD9-81ED-4DB2-BD59-A6C34878D82A}">
                    <a16:rowId xmlns:a16="http://schemas.microsoft.com/office/drawing/2014/main" val="1349476809"/>
                  </a:ext>
                </a:extLst>
              </a:tr>
              <a:tr h="370840">
                <a:tc>
                  <a:txBody>
                    <a:bodyPr/>
                    <a:lstStyle/>
                    <a:p>
                      <a:pPr lvl="0" algn="l">
                        <a:lnSpc>
                          <a:spcPct val="100000"/>
                        </a:lnSpc>
                        <a:spcBef>
                          <a:spcPts val="0"/>
                        </a:spcBef>
                        <a:spcAft>
                          <a:spcPts val="0"/>
                        </a:spcAft>
                        <a:buNone/>
                      </a:pPr>
                      <a:r>
                        <a:rPr lang="en-US" sz="1400" u="none" strike="noStrike" noProof="0">
                          <a:solidFill>
                            <a:schemeClr val="tx1"/>
                          </a:solidFill>
                        </a:rPr>
                        <a:t>Eligibility Files</a:t>
                      </a:r>
                      <a:endParaRPr lang="en-US" sz="1400">
                        <a:solidFill>
                          <a:schemeClr val="tx1"/>
                        </a:solidFill>
                      </a:endParaRP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a:t>File layouts </a:t>
                      </a:r>
                      <a:r>
                        <a:rPr lang="en-US" sz="1400" b="0" i="0" u="none" strike="noStrike" noProof="0">
                          <a:solidFill>
                            <a:srgbClr val="000000"/>
                          </a:solidFill>
                          <a:latin typeface="Arial"/>
                          <a:cs typeface="Arial"/>
                        </a:rPr>
                        <a:t>where ESI receives eligibility data from clients/vendors</a:t>
                      </a:r>
                    </a:p>
                  </a:txBody>
                  <a:tcPr/>
                </a:tc>
                <a:extLst>
                  <a:ext uri="{0D108BD9-81ED-4DB2-BD59-A6C34878D82A}">
                    <a16:rowId xmlns:a16="http://schemas.microsoft.com/office/drawing/2014/main" val="371436190"/>
                  </a:ext>
                </a:extLst>
              </a:tr>
              <a:tr h="370840">
                <a:tc>
                  <a:txBody>
                    <a:bodyPr/>
                    <a:lstStyle/>
                    <a:p>
                      <a:pPr lvl="0" algn="l">
                        <a:lnSpc>
                          <a:spcPct val="100000"/>
                        </a:lnSpc>
                        <a:spcBef>
                          <a:spcPts val="0"/>
                        </a:spcBef>
                        <a:spcAft>
                          <a:spcPts val="0"/>
                        </a:spcAft>
                        <a:buNone/>
                      </a:pPr>
                      <a:r>
                        <a:rPr lang="en-US" sz="1400" u="none" strike="noStrike" noProof="0">
                          <a:solidFill>
                            <a:schemeClr val="tx1"/>
                          </a:solidFill>
                        </a:rPr>
                        <a:t>Help Desk / Operational Support</a:t>
                      </a:r>
                      <a:endParaRPr lang="en-US" sz="1400">
                        <a:solidFill>
                          <a:schemeClr val="tx1"/>
                        </a:solidFill>
                      </a:endParaRPr>
                    </a:p>
                  </a:txBody>
                  <a:tcPr anchor="ctr"/>
                </a:tc>
                <a:tc>
                  <a:txBody>
                    <a:bodyPr/>
                    <a:lstStyle/>
                    <a:p>
                      <a:r>
                        <a:rPr lang="en-US" sz="1400"/>
                        <a:t>Milestones that impact call center agents and their interactions with pharmacies and members (i.e., talking points, SOPs)</a:t>
                      </a:r>
                    </a:p>
                  </a:txBody>
                  <a:tcPr/>
                </a:tc>
                <a:extLst>
                  <a:ext uri="{0D108BD9-81ED-4DB2-BD59-A6C34878D82A}">
                    <a16:rowId xmlns:a16="http://schemas.microsoft.com/office/drawing/2014/main" val="1630819480"/>
                  </a:ext>
                </a:extLst>
              </a:tr>
              <a:tr h="370840">
                <a:tc>
                  <a:txBody>
                    <a:bodyPr/>
                    <a:lstStyle/>
                    <a:p>
                      <a:pPr lvl="0" algn="l">
                        <a:lnSpc>
                          <a:spcPct val="100000"/>
                        </a:lnSpc>
                        <a:spcBef>
                          <a:spcPts val="0"/>
                        </a:spcBef>
                        <a:spcAft>
                          <a:spcPts val="0"/>
                        </a:spcAft>
                        <a:buNone/>
                      </a:pPr>
                      <a:r>
                        <a:rPr lang="en-US" sz="1400" u="none" strike="noStrike" noProof="0">
                          <a:solidFill>
                            <a:schemeClr val="tx1"/>
                          </a:solidFill>
                        </a:rPr>
                        <a:t>Reporting</a:t>
                      </a:r>
                      <a:endParaRPr lang="en-US" sz="1400">
                        <a:solidFill>
                          <a:schemeClr val="tx1"/>
                        </a:solidFill>
                      </a:endParaRPr>
                    </a:p>
                  </a:txBody>
                  <a:tcPr anchor="ctr"/>
                </a:tc>
                <a:tc>
                  <a:txBody>
                    <a:bodyPr/>
                    <a:lstStyle/>
                    <a:p>
                      <a:pPr lvl="0">
                        <a:buNone/>
                      </a:pPr>
                      <a:r>
                        <a:rPr lang="en-US" sz="1400" b="0" i="0" u="none" strike="noStrike" noProof="0">
                          <a:solidFill>
                            <a:srgbClr val="000000"/>
                          </a:solidFill>
                          <a:latin typeface="Arial"/>
                          <a:cs typeface="Arial"/>
                        </a:rPr>
                        <a:t>Milestones that impact the various claim-level reports either provided directly to client or that clients can self-service using </a:t>
                      </a:r>
                      <a:r>
                        <a:rPr lang="en-US" sz="1400" b="0" i="0" u="none" strike="noStrike" noProof="0" err="1">
                          <a:solidFill>
                            <a:srgbClr val="000000"/>
                          </a:solidFill>
                          <a:latin typeface="Arial"/>
                          <a:cs typeface="Arial"/>
                        </a:rPr>
                        <a:t>Evernorth</a:t>
                      </a:r>
                      <a:r>
                        <a:rPr lang="en-US" sz="1400" b="0" i="0" u="none" strike="noStrike" noProof="0">
                          <a:solidFill>
                            <a:srgbClr val="000000"/>
                          </a:solidFill>
                          <a:latin typeface="Arial"/>
                          <a:cs typeface="Arial"/>
                        </a:rPr>
                        <a:t> Control Center</a:t>
                      </a:r>
                      <a:endParaRPr lang="en-US"/>
                    </a:p>
                  </a:txBody>
                  <a:tcPr/>
                </a:tc>
                <a:extLst>
                  <a:ext uri="{0D108BD9-81ED-4DB2-BD59-A6C34878D82A}">
                    <a16:rowId xmlns:a16="http://schemas.microsoft.com/office/drawing/2014/main" val="765667963"/>
                  </a:ext>
                </a:extLst>
              </a:tr>
              <a:tr h="370840">
                <a:tc>
                  <a:txBody>
                    <a:bodyPr/>
                    <a:lstStyle/>
                    <a:p>
                      <a:pPr lvl="0" algn="l">
                        <a:lnSpc>
                          <a:spcPct val="100000"/>
                        </a:lnSpc>
                        <a:spcBef>
                          <a:spcPts val="0"/>
                        </a:spcBef>
                        <a:spcAft>
                          <a:spcPts val="0"/>
                        </a:spcAft>
                        <a:buNone/>
                      </a:pPr>
                      <a:r>
                        <a:rPr lang="en-US" sz="1400" u="none" strike="noStrike" noProof="0">
                          <a:solidFill>
                            <a:schemeClr val="tx1"/>
                          </a:solidFill>
                        </a:rPr>
                        <a:t>Vendor Engagement</a:t>
                      </a:r>
                      <a:endParaRPr lang="en-US" sz="1400">
                        <a:solidFill>
                          <a:schemeClr val="tx1"/>
                        </a:solidFill>
                      </a:endParaRPr>
                    </a:p>
                  </a:txBody>
                  <a:tcPr anchor="ctr"/>
                </a:tc>
                <a:tc>
                  <a:txBody>
                    <a:bodyPr/>
                    <a:lstStyle/>
                    <a:p>
                      <a:r>
                        <a:rPr lang="en-US" sz="1400"/>
                        <a:t>Coordination with vendors or third-party partners who manage reporting or file transfers</a:t>
                      </a:r>
                    </a:p>
                  </a:txBody>
                  <a:tcPr/>
                </a:tc>
                <a:extLst>
                  <a:ext uri="{0D108BD9-81ED-4DB2-BD59-A6C34878D82A}">
                    <a16:rowId xmlns:a16="http://schemas.microsoft.com/office/drawing/2014/main" val="1993782352"/>
                  </a:ext>
                </a:extLst>
              </a:tr>
              <a:tr h="370839">
                <a:tc>
                  <a:txBody>
                    <a:bodyPr/>
                    <a:lstStyle/>
                    <a:p>
                      <a:pPr lvl="0" algn="l">
                        <a:lnSpc>
                          <a:spcPct val="100000"/>
                        </a:lnSpc>
                        <a:spcBef>
                          <a:spcPts val="0"/>
                        </a:spcBef>
                        <a:spcAft>
                          <a:spcPts val="0"/>
                        </a:spcAft>
                        <a:buNone/>
                      </a:pPr>
                      <a:r>
                        <a:rPr lang="en-US" sz="1400" u="none" strike="noStrike" noProof="0">
                          <a:solidFill>
                            <a:schemeClr val="tx1"/>
                          </a:solidFill>
                        </a:rPr>
                        <a:t>ID Cards</a:t>
                      </a:r>
                    </a:p>
                  </a:txBody>
                  <a:tcPr anchor="ctr"/>
                </a:tc>
                <a:tc>
                  <a:txBody>
                    <a:bodyPr/>
                    <a:lstStyle/>
                    <a:p>
                      <a:pPr lvl="0">
                        <a:buNone/>
                      </a:pPr>
                      <a:r>
                        <a:rPr lang="en-US" sz="1400"/>
                        <a:t>ID cards should reference 8-digit IINs with any scheduled reprint efforts starting 1/1/2027</a:t>
                      </a:r>
                    </a:p>
                  </a:txBody>
                  <a:tcPr/>
                </a:tc>
                <a:extLst>
                  <a:ext uri="{0D108BD9-81ED-4DB2-BD59-A6C34878D82A}">
                    <a16:rowId xmlns:a16="http://schemas.microsoft.com/office/drawing/2014/main" val="1957342407"/>
                  </a:ext>
                </a:extLst>
              </a:tr>
              <a:tr h="370840">
                <a:tc>
                  <a:txBody>
                    <a:bodyPr/>
                    <a:lstStyle/>
                    <a:p>
                      <a:pPr lvl="0" algn="l">
                        <a:lnSpc>
                          <a:spcPct val="100000"/>
                        </a:lnSpc>
                        <a:spcBef>
                          <a:spcPts val="0"/>
                        </a:spcBef>
                        <a:spcAft>
                          <a:spcPts val="0"/>
                        </a:spcAft>
                        <a:buNone/>
                      </a:pPr>
                      <a:r>
                        <a:rPr lang="en-US" sz="1400" u="none" strike="noStrike" noProof="0"/>
                        <a:t>Claims Adjudication Data Flow (CADF) Testing</a:t>
                      </a:r>
                      <a:endParaRPr lang="en-US" sz="1400"/>
                    </a:p>
                  </a:txBody>
                  <a:tcPr anchor="ctr"/>
                </a:tc>
                <a:tc>
                  <a:txBody>
                    <a:bodyPr/>
                    <a:lstStyle/>
                    <a:p>
                      <a:r>
                        <a:rPr lang="en-US" sz="1400">
                          <a:effectLst/>
                        </a:rPr>
                        <a:t>Critical phase of Client Testing </a:t>
                      </a:r>
                      <a:r>
                        <a:rPr lang="en-US" sz="1400" b="0">
                          <a:effectLst/>
                        </a:rPr>
                        <a:t>involving anything that impacts claims adjudication*</a:t>
                      </a:r>
                      <a:r>
                        <a:rPr lang="en-US" sz="1400" b="1">
                          <a:effectLst/>
                        </a:rPr>
                        <a:t> </a:t>
                      </a:r>
                      <a:r>
                        <a:rPr lang="en-US" sz="1400">
                          <a:effectLst/>
                        </a:rPr>
                        <a:t>to ensure core business/claims data flows through internal and client systems as expected</a:t>
                      </a:r>
                    </a:p>
                  </a:txBody>
                  <a:tcPr/>
                </a:tc>
                <a:extLst>
                  <a:ext uri="{0D108BD9-81ED-4DB2-BD59-A6C34878D82A}">
                    <a16:rowId xmlns:a16="http://schemas.microsoft.com/office/drawing/2014/main" val="857572412"/>
                  </a:ext>
                </a:extLst>
              </a:tr>
            </a:tbl>
          </a:graphicData>
        </a:graphic>
      </p:graphicFrame>
      <p:sp>
        <p:nvSpPr>
          <p:cNvPr id="6" name="Slide Number Placeholder 5">
            <a:extLst>
              <a:ext uri="{FF2B5EF4-FFF2-40B4-BE49-F238E27FC236}">
                <a16:creationId xmlns:a16="http://schemas.microsoft.com/office/drawing/2014/main" id="{C8119A5D-420C-32EF-3F74-74F314AA5F22}"/>
              </a:ext>
            </a:extLst>
          </p:cNvPr>
          <p:cNvSpPr>
            <a:spLocks noGrp="1"/>
          </p:cNvSpPr>
          <p:nvPr>
            <p:ph type="sldNum" sz="quarter" idx="18"/>
          </p:nvPr>
        </p:nvSpPr>
        <p:spPr/>
        <p:txBody>
          <a:bodyPr/>
          <a:lstStyle/>
          <a:p>
            <a:fld id="{23AA811B-2EBD-4900-905E-5BE206449611}" type="slidenum">
              <a:rPr lang="en-US" smtClean="0"/>
              <a:pPr/>
              <a:t>2</a:t>
            </a:fld>
            <a:endParaRPr lang="en-US"/>
          </a:p>
        </p:txBody>
      </p:sp>
      <p:sp>
        <p:nvSpPr>
          <p:cNvPr id="7" name="Date Placeholder 6">
            <a:extLst>
              <a:ext uri="{FF2B5EF4-FFF2-40B4-BE49-F238E27FC236}">
                <a16:creationId xmlns:a16="http://schemas.microsoft.com/office/drawing/2014/main" id="{83526C86-98E7-41FB-7596-B6E15D0D63B0}"/>
              </a:ext>
            </a:extLst>
          </p:cNvPr>
          <p:cNvSpPr>
            <a:spLocks noGrp="1"/>
          </p:cNvSpPr>
          <p:nvPr>
            <p:ph type="dt" sz="half" idx="13"/>
          </p:nvPr>
        </p:nvSpPr>
        <p:spPr/>
        <p:txBody>
          <a:bodyPr/>
          <a:lstStyle/>
          <a:p>
            <a:fld id="{B118041E-2DAD-480C-AEE4-E661A097CFE4}" type="datetime1">
              <a:rPr lang="en-US" smtClean="0"/>
              <a:t>5/12/2026</a:t>
            </a:fld>
            <a:endParaRPr lang="en-US"/>
          </a:p>
        </p:txBody>
      </p:sp>
    </p:spTree>
    <p:extLst>
      <p:ext uri="{BB962C8B-B14F-4D97-AF65-F5344CB8AC3E}">
        <p14:creationId xmlns:p14="http://schemas.microsoft.com/office/powerpoint/2010/main" val="4023172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BiDqhPBPkSg0lPPOVa3Ow"/>
</p:tagLst>
</file>

<file path=ppt/theme/theme1.xml><?xml version="1.0" encoding="utf-8"?>
<a:theme xmlns:a="http://schemas.openxmlformats.org/drawingml/2006/main" name="2_Evernorth 16:9">
  <a:themeElements>
    <a:clrScheme name="Evernorth 2023">
      <a:dk1>
        <a:srgbClr val="000000"/>
      </a:dk1>
      <a:lt1>
        <a:srgbClr val="FFFFFF"/>
      </a:lt1>
      <a:dk2>
        <a:srgbClr val="002F32"/>
      </a:dk2>
      <a:lt2>
        <a:srgbClr val="EDEBE7"/>
      </a:lt2>
      <a:accent1>
        <a:srgbClr val="3EFFC0"/>
      </a:accent1>
      <a:accent2>
        <a:srgbClr val="008F83"/>
      </a:accent2>
      <a:accent3>
        <a:srgbClr val="035C67"/>
      </a:accent3>
      <a:accent4>
        <a:srgbClr val="002F32"/>
      </a:accent4>
      <a:accent5>
        <a:srgbClr val="EA5353"/>
      </a:accent5>
      <a:accent6>
        <a:srgbClr val="EDEBE7"/>
      </a:accent6>
      <a:hlink>
        <a:srgbClr val="0033FF"/>
      </a:hlink>
      <a:folHlink>
        <a:srgbClr val="0033FF"/>
      </a:folHlink>
    </a:clrScheme>
    <a:fontScheme name="Evernorth Arial">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solidFill>
        </a:ln>
      </a:spPr>
      <a:bodyPr lIns="72000" tIns="36000" rIns="72000" bIns="36000"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accent4"/>
            </a:solidFill>
          </a:defRPr>
        </a:defPPr>
      </a:lstStyle>
    </a:txDef>
  </a:objectDefaults>
  <a:extraClrSchemeLst/>
  <a:custClrLst>
    <a:custClr name="Darkmint">
      <a:srgbClr val="002F32"/>
    </a:custClr>
    <a:custClr name="Spruce 5">
      <a:srgbClr val="463413"/>
    </a:custClr>
    <a:custClr name="Blue 5">
      <a:srgbClr val="001980"/>
    </a:custClr>
    <a:custClr name="Coral 5">
      <a:srgbClr val="5C1F2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Tempermint">
      <a:srgbClr val="035C67"/>
    </a:custClr>
    <a:custClr name="Spruce 4">
      <a:srgbClr val="7B882B"/>
    </a:custClr>
    <a:custClr name="Blue 4 Active blue">
      <a:srgbClr val="0033FF"/>
    </a:custClr>
    <a:custClr name="Coral 4">
      <a:srgbClr val="B73445"/>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Mediumint">
      <a:srgbClr val="008F83"/>
    </a:custClr>
    <a:custClr name="Spruce 3">
      <a:srgbClr val="A0B239"/>
    </a:custClr>
    <a:custClr name="Blue 3">
      <a:srgbClr val="3879DB"/>
    </a:custClr>
    <a:custClr name="Coral 3">
      <a:srgbClr val="EA535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Hypermint">
      <a:srgbClr val="3EFFC0"/>
    </a:custClr>
    <a:custClr name="Spruce 2">
      <a:srgbClr val="C4D746"/>
    </a:custClr>
    <a:custClr name="Blue 2">
      <a:srgbClr val="90B9FF"/>
    </a:custClr>
    <a:custClr name="Coral 2">
      <a:srgbClr val="E8878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Lightmint">
      <a:srgbClr val="B3F8D9"/>
    </a:custClr>
    <a:custClr name="Spruce 1">
      <a:srgbClr val="DAFA87"/>
    </a:custClr>
    <a:custClr name="Blue 1">
      <a:srgbClr val="D7E9FF"/>
    </a:custClr>
    <a:custClr name="Coral 1">
      <a:srgbClr val="FFEAE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Evernorth.potx" id="{CF99AB89-BA1D-443F-B964-59F6B3F98DD3}" vid="{9B147206-36C6-4C9B-A1BE-3863A2B43C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49DF2EA7CE3747AB5C0916B15FF8AA" ma:contentTypeVersion="12" ma:contentTypeDescription="Create a new document." ma:contentTypeScope="" ma:versionID="a587cb4bf28cfb7d2345f15f63772b59">
  <xsd:schema xmlns:xsd="http://www.w3.org/2001/XMLSchema" xmlns:xs="http://www.w3.org/2001/XMLSchema" xmlns:p="http://schemas.microsoft.com/office/2006/metadata/properties" xmlns:ns2="6b717270-622d-4a31-b1e5-a6730c0a402b" xmlns:ns3="a0a9d04e-6562-4673-b41f-e9aeecf812f1" targetNamespace="http://schemas.microsoft.com/office/2006/metadata/properties" ma:root="true" ma:fieldsID="cb13d4c9a22561faca5c5c22aaaf47e6" ns2:_="" ns3:_="">
    <xsd:import namespace="6b717270-622d-4a31-b1e5-a6730c0a402b"/>
    <xsd:import namespace="a0a9d04e-6562-4673-b41f-e9aeecf812f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717270-622d-4a31-b1e5-a6730c0a40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40ca3691-9f97-4b02-85c8-03626780fae2"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0a9d04e-6562-4673-b41f-e9aeecf812f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11b32c7e-6fa3-466b-81f8-387cb65946c7}" ma:internalName="TaxCatchAll" ma:showField="CatchAllData" ma:web="a0a9d04e-6562-4673-b41f-e9aeecf812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b717270-622d-4a31-b1e5-a6730c0a402b">
      <Terms xmlns="http://schemas.microsoft.com/office/infopath/2007/PartnerControls"/>
    </lcf76f155ced4ddcb4097134ff3c332f>
    <TaxCatchAll xmlns="a0a9d04e-6562-4673-b41f-e9aeecf812f1" xsi:nil="true"/>
  </documentManagement>
</p:properties>
</file>

<file path=customXml/itemProps1.xml><?xml version="1.0" encoding="utf-8"?>
<ds:datastoreItem xmlns:ds="http://schemas.openxmlformats.org/officeDocument/2006/customXml" ds:itemID="{56397651-10E5-4D21-B8EF-F236F77CEE06}">
  <ds:schemaRefs>
    <ds:schemaRef ds:uri="6b717270-622d-4a31-b1e5-a6730c0a402b"/>
    <ds:schemaRef ds:uri="a0a9d04e-6562-4673-b41f-e9aeecf812f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B49992C-63F7-4AE2-A489-AE925305E80A}">
  <ds:schemaRefs>
    <ds:schemaRef ds:uri="http://schemas.microsoft.com/sharepoint/v3/contenttype/forms"/>
  </ds:schemaRefs>
</ds:datastoreItem>
</file>

<file path=customXml/itemProps3.xml><?xml version="1.0" encoding="utf-8"?>
<ds:datastoreItem xmlns:ds="http://schemas.openxmlformats.org/officeDocument/2006/customXml" ds:itemID="{4EFED53B-3FA2-4803-B0C3-EA2DA0DB42DA}">
  <ds:schemaRefs>
    <ds:schemaRef ds:uri="a0a9d04e-6562-4673-b41f-e9aeecf812f1"/>
    <ds:schemaRef ds:uri="http://purl.org/dc/terms/"/>
    <ds:schemaRef ds:uri="http://purl.org/dc/dcmitype/"/>
    <ds:schemaRef ds:uri="6b717270-622d-4a31-b1e5-a6730c0a402b"/>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569</Words>
  <Application>Microsoft Office PowerPoint</Application>
  <PresentationFormat>Widescreen</PresentationFormat>
  <Paragraphs>107</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ptos</vt:lpstr>
      <vt:lpstr>Arial</vt:lpstr>
      <vt:lpstr>Arial Black</vt:lpstr>
      <vt:lpstr>Arial Narrow</vt:lpstr>
      <vt:lpstr>Consolas</vt:lpstr>
      <vt:lpstr>Wingdings 2</vt:lpstr>
      <vt:lpstr>2_Evernorth 16:9</vt:lpstr>
      <vt:lpstr>think-cell Slide</vt:lpstr>
      <vt:lpstr>Client Impact Assessment Roadmap</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eCosta, Tara</dc:creator>
  <cp:lastModifiedBy>Pimentel, Patricia</cp:lastModifiedBy>
  <cp:revision>4</cp:revision>
  <dcterms:created xsi:type="dcterms:W3CDTF">2026-02-06T15:28:39Z</dcterms:created>
  <dcterms:modified xsi:type="dcterms:W3CDTF">2026-05-12T22:1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0a8334-8d79-4e2a-acf9-d055bd383803_Enabled">
    <vt:lpwstr>true</vt:lpwstr>
  </property>
  <property fmtid="{D5CDD505-2E9C-101B-9397-08002B2CF9AE}" pid="3" name="MSIP_Label_380a8334-8d79-4e2a-acf9-d055bd383803_SetDate">
    <vt:lpwstr>2026-02-06T15:32:15Z</vt:lpwstr>
  </property>
  <property fmtid="{D5CDD505-2E9C-101B-9397-08002B2CF9AE}" pid="4" name="MSIP_Label_380a8334-8d79-4e2a-acf9-d055bd383803_Method">
    <vt:lpwstr>Privileged</vt:lpwstr>
  </property>
  <property fmtid="{D5CDD505-2E9C-101B-9397-08002B2CF9AE}" pid="5" name="MSIP_Label_380a8334-8d79-4e2a-acf9-d055bd383803_Name">
    <vt:lpwstr>Internal</vt:lpwstr>
  </property>
  <property fmtid="{D5CDD505-2E9C-101B-9397-08002B2CF9AE}" pid="6" name="MSIP_Label_380a8334-8d79-4e2a-acf9-d055bd383803_SiteId">
    <vt:lpwstr>791b26cb-3fdf-47c3-b85d-bd9f037e3e7f</vt:lpwstr>
  </property>
  <property fmtid="{D5CDD505-2E9C-101B-9397-08002B2CF9AE}" pid="7" name="MSIP_Label_380a8334-8d79-4e2a-acf9-d055bd383803_ActionId">
    <vt:lpwstr>ad3caf3f-1974-4b76-b888-b09acf67d19c</vt:lpwstr>
  </property>
  <property fmtid="{D5CDD505-2E9C-101B-9397-08002B2CF9AE}" pid="8" name="MSIP_Label_380a8334-8d79-4e2a-acf9-d055bd383803_ContentBits">
    <vt:lpwstr>0</vt:lpwstr>
  </property>
  <property fmtid="{D5CDD505-2E9C-101B-9397-08002B2CF9AE}" pid="9" name="MSIP_Label_380a8334-8d79-4e2a-acf9-d055bd383803_Tag">
    <vt:lpwstr>10, 0, 1, 1</vt:lpwstr>
  </property>
  <property fmtid="{D5CDD505-2E9C-101B-9397-08002B2CF9AE}" pid="10" name="ContentTypeId">
    <vt:lpwstr>0x010100F749DF2EA7CE3747AB5C0916B15FF8AA</vt:lpwstr>
  </property>
  <property fmtid="{D5CDD505-2E9C-101B-9397-08002B2CF9AE}" pid="11" name="MediaServiceImageTags">
    <vt:lpwstr/>
  </property>
</Properties>
</file>